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29" r:id="rId4"/>
  </p:sldMasterIdLst>
  <p:notesMasterIdLst>
    <p:notesMasterId r:id="rId43"/>
  </p:notesMasterIdLst>
  <p:handoutMasterIdLst>
    <p:handoutMasterId r:id="rId44"/>
  </p:handoutMasterIdLst>
  <p:sldIdLst>
    <p:sldId id="256" r:id="rId5"/>
    <p:sldId id="303" r:id="rId6"/>
    <p:sldId id="259" r:id="rId7"/>
    <p:sldId id="263" r:id="rId8"/>
    <p:sldId id="498" r:id="rId9"/>
    <p:sldId id="269" r:id="rId10"/>
    <p:sldId id="499" r:id="rId11"/>
    <p:sldId id="489" r:id="rId12"/>
    <p:sldId id="377" r:id="rId13"/>
    <p:sldId id="388" r:id="rId14"/>
    <p:sldId id="390" r:id="rId15"/>
    <p:sldId id="490" r:id="rId16"/>
    <p:sldId id="389" r:id="rId17"/>
    <p:sldId id="383" r:id="rId18"/>
    <p:sldId id="384" r:id="rId19"/>
    <p:sldId id="500" r:id="rId20"/>
    <p:sldId id="491" r:id="rId21"/>
    <p:sldId id="492" r:id="rId22"/>
    <p:sldId id="339" r:id="rId23"/>
    <p:sldId id="488" r:id="rId24"/>
    <p:sldId id="378" r:id="rId25"/>
    <p:sldId id="493" r:id="rId26"/>
    <p:sldId id="381" r:id="rId27"/>
    <p:sldId id="391" r:id="rId28"/>
    <p:sldId id="494" r:id="rId29"/>
    <p:sldId id="385" r:id="rId30"/>
    <p:sldId id="310" r:id="rId31"/>
    <p:sldId id="386" r:id="rId32"/>
    <p:sldId id="495" r:id="rId33"/>
    <p:sldId id="496" r:id="rId34"/>
    <p:sldId id="387" r:id="rId35"/>
    <p:sldId id="497" r:id="rId36"/>
    <p:sldId id="487" r:id="rId37"/>
    <p:sldId id="484" r:id="rId38"/>
    <p:sldId id="485" r:id="rId39"/>
    <p:sldId id="486" r:id="rId40"/>
    <p:sldId id="392" r:id="rId41"/>
    <p:sldId id="365" r:id="rId42"/>
  </p:sldIdLst>
  <p:sldSz cx="9144000" cy="6858000" type="letter"/>
  <p:notesSz cx="6858000" cy="9144000"/>
  <p:custDataLst>
    <p:tags r:id="rId45"/>
  </p:custDataLst>
  <p:defaultTex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8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785F32-79E2-1CAE-836D-F8CA2A383194}" name="MacDonald, Troy" initials="MT" userId="S::troy.macdonald@doane.gt.ca::02444585-6b1a-4420-82ab-9c66e7bdcef6" providerId="AD"/>
  <p188:author id="{00835875-712D-EDBC-78F5-C115B6FA47E6}" name="Cummins, Peter" initials="PC" userId="S::Peter.Cummins@ca.gt.com::3e019fb5-f2e4-456c-8856-6883cde3d59a" providerId="AD"/>
  <p188:author id="{F1C09E83-A7DD-659B-5744-05B82933AC3F}" name="Nick Siepmann" initials="NS" userId="S::Nick.Siepmann@Hamilton-Brown.com::f5ae3c78-5547-4715-8d44-7ee1fe756de9" providerId="AD"/>
  <p188:author id="{91DD749D-3041-E9BD-D5B4-0161F104DAB1}" name="Gary Long" initials="GL" userId="S::gary.long@portcolborne.ca::f4da7e16-c8d3-41ad-a1d6-d7f25d79dcf9" providerId="AD"/>
  <p188:author id="{557563A4-6D05-CF8A-87E0-61613735E1EA}" name="Steve Shypowskyj" initials="SS" userId="S::Steve.Shypowskyj@portcolborne.ca::4ef83a96-3405-4b40-a560-f5fec747a513" providerId="AD"/>
  <p188:author id="{8969A0FF-CAFB-A183-4851-B1397BD1AFFB}" name="Cummins, Peter" initials="PC" userId="S::Peter.Cummins@doane.gt.ca::3e019fb5-f2e4-456c-8856-6883cde3d5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seph, Michael (Los Angeles)" initials="JM(A" lastIdx="53" clrIdx="0">
    <p:extLst>
      <p:ext uri="{19B8F6BF-5375-455C-9EA6-DF929625EA0E}">
        <p15:presenceInfo xmlns:p15="http://schemas.microsoft.com/office/powerpoint/2012/main" userId="S-1-5-21-507921405-362288127-725345543-815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2D7F"/>
    <a:srgbClr val="002C5F"/>
    <a:srgbClr val="A06DFF"/>
    <a:srgbClr val="C6B2E4"/>
    <a:srgbClr val="F0F0F0"/>
    <a:srgbClr val="F2F2F2"/>
    <a:srgbClr val="B9ABCC"/>
    <a:srgbClr val="99DCE1"/>
    <a:srgbClr val="F1E5DB"/>
    <a:srgbClr val="D5D0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282703-A95A-420D-94F1-876F24E92BA9}" v="1087" dt="2025-10-23T20:32:25.145"/>
  </p1510:revLst>
</p1510:revInfo>
</file>

<file path=ppt/tableStyles.xml><?xml version="1.0" encoding="utf-8"?>
<a:tblStyleLst xmlns:a="http://schemas.openxmlformats.org/drawingml/2006/main" def="{79A5969B-65F0-4F1C-96AB-84BB84F7BFFD}">
  <a:tblStyle styleId="{79A5969B-65F0-4F1C-96AB-84BB84F7BFFD}" styleName="GT Table Style">
    <a:wholeTbl>
      <a:tcTxStyle>
        <a:fontRef idx="minor"/>
        <a:schemeClr val="tx1"/>
      </a:tcTxStyle>
      <a:tcStyle>
        <a:tcBdr>
          <a:left>
            <a:ln w="0" cmpd="sng">
              <a:noFill/>
            </a:ln>
          </a:left>
          <a:right>
            <a:ln w="0" cmpd="sng">
              <a:noFill/>
            </a:ln>
          </a:right>
          <a:top>
            <a:ln w="12700" cmpd="sng">
              <a:solidFill>
                <a:schemeClr val="tx1"/>
              </a:solidFill>
            </a:ln>
          </a:top>
          <a:bottom>
            <a:ln w="12700" cmpd="sng">
              <a:solidFill>
                <a:schemeClr val="tx1"/>
              </a:solidFill>
            </a:ln>
          </a:bottom>
          <a:insideH>
            <a:ln w="3175" cmpd="sng">
              <a:solidFill>
                <a:schemeClr val="tx1"/>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a:fontRef idx="minor"/>
        <a:schemeClr val="tx1"/>
      </a:tcTxStyle>
      <a:tcStyle>
        <a:tcBdr>
          <a:top>
            <a:ln w="12700" cmpd="sng">
              <a:solidFill>
                <a:schemeClr val="tx1"/>
              </a:solidFill>
            </a:ln>
          </a:top>
          <a:bottom>
            <a:ln w="12700" cmpd="sng">
              <a:noFill/>
            </a:ln>
          </a:bottom>
        </a:tcBdr>
      </a:tcStyle>
    </a:lastRow>
    <a:firstRow>
      <a:tcTxStyle b="on">
        <a:fontRef idx="minor"/>
        <a:schemeClr val="accent1"/>
      </a:tcTxStyle>
      <a:tcStyle>
        <a:tcBdr>
          <a:top>
            <a:ln w="12700" cmpd="sng">
              <a:noFill/>
            </a:ln>
          </a:top>
          <a:bottom>
            <a:ln w="12700" cmpd="sng" algn="ctr">
              <a:solidFill>
                <a:schemeClr val="tx1"/>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1098" y="96"/>
      </p:cViewPr>
      <p:guideLst>
        <p:guide orient="horz" pos="348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ummins, Peter" userId="3e019fb5-f2e4-456c-8856-6883cde3d59a" providerId="ADAL" clId="{56385BD5-F090-4EFA-A974-3BFEC3FA9E29}"/>
    <pc:docChg chg="undo custSel addSld delSld modSld sldOrd">
      <pc:chgData name="Cummins, Peter" userId="3e019fb5-f2e4-456c-8856-6883cde3d59a" providerId="ADAL" clId="{56385BD5-F090-4EFA-A974-3BFEC3FA9E29}" dt="2025-10-03T16:21:49.219" v="3997" actId="20577"/>
      <pc:docMkLst>
        <pc:docMk/>
      </pc:docMkLst>
      <pc:sldChg chg="modSp mod">
        <pc:chgData name="Cummins, Peter" userId="3e019fb5-f2e4-456c-8856-6883cde3d59a" providerId="ADAL" clId="{56385BD5-F090-4EFA-A974-3BFEC3FA9E29}" dt="2025-09-26T16:48:18.085" v="29" actId="20577"/>
        <pc:sldMkLst>
          <pc:docMk/>
          <pc:sldMk cId="3996231207" sldId="256"/>
        </pc:sldMkLst>
        <pc:spChg chg="mod">
          <ac:chgData name="Cummins, Peter" userId="3e019fb5-f2e4-456c-8856-6883cde3d59a" providerId="ADAL" clId="{56385BD5-F090-4EFA-A974-3BFEC3FA9E29}" dt="2025-09-26T16:48:13.182" v="24" actId="5793"/>
          <ac:spMkLst>
            <pc:docMk/>
            <pc:sldMk cId="3996231207" sldId="256"/>
            <ac:spMk id="5" creationId="{A0532227-C5C6-7AE7-AD76-764D2EB4F662}"/>
          </ac:spMkLst>
        </pc:spChg>
        <pc:spChg chg="mod">
          <ac:chgData name="Cummins, Peter" userId="3e019fb5-f2e4-456c-8856-6883cde3d59a" providerId="ADAL" clId="{56385BD5-F090-4EFA-A974-3BFEC3FA9E29}" dt="2025-09-26T16:48:18.085" v="29" actId="20577"/>
          <ac:spMkLst>
            <pc:docMk/>
            <pc:sldMk cId="3996231207" sldId="256"/>
            <ac:spMk id="6" creationId="{B99A6484-7860-470D-9D11-25A721ECDD0C}"/>
          </ac:spMkLst>
        </pc:spChg>
      </pc:sldChg>
      <pc:sldChg chg="addSp delSp modSp mod ord">
        <pc:chgData name="Cummins, Peter" userId="3e019fb5-f2e4-456c-8856-6883cde3d59a" providerId="ADAL" clId="{56385BD5-F090-4EFA-A974-3BFEC3FA9E29}" dt="2025-10-01T20:50:32.781" v="1613"/>
        <pc:sldMkLst>
          <pc:docMk/>
          <pc:sldMk cId="2665862193" sldId="259"/>
        </pc:sldMkLst>
        <pc:spChg chg="mod">
          <ac:chgData name="Cummins, Peter" userId="3e019fb5-f2e4-456c-8856-6883cde3d59a" providerId="ADAL" clId="{56385BD5-F090-4EFA-A974-3BFEC3FA9E29}" dt="2025-09-26T16:52:32.919" v="244" actId="20577"/>
          <ac:spMkLst>
            <pc:docMk/>
            <pc:sldMk cId="2665862193" sldId="259"/>
            <ac:spMk id="4" creationId="{F6D14D76-4482-D4C2-C591-3A2D43F256C0}"/>
          </ac:spMkLst>
        </pc:spChg>
        <pc:spChg chg="mod">
          <ac:chgData name="Cummins, Peter" userId="3e019fb5-f2e4-456c-8856-6883cde3d59a" providerId="ADAL" clId="{56385BD5-F090-4EFA-A974-3BFEC3FA9E29}" dt="2025-09-26T16:52:27.550" v="238" actId="20577"/>
          <ac:spMkLst>
            <pc:docMk/>
            <pc:sldMk cId="2665862193" sldId="259"/>
            <ac:spMk id="5" creationId="{5CFC4C16-4163-0364-AD7F-93505012072E}"/>
          </ac:spMkLst>
        </pc:spChg>
      </pc:sldChg>
      <pc:sldChg chg="addSp delSp modSp mod ord">
        <pc:chgData name="Cummins, Peter" userId="3e019fb5-f2e4-456c-8856-6883cde3d59a" providerId="ADAL" clId="{56385BD5-F090-4EFA-A974-3BFEC3FA9E29}" dt="2025-10-03T16:21:49.219" v="3997" actId="20577"/>
        <pc:sldMkLst>
          <pc:docMk/>
          <pc:sldMk cId="3734919812" sldId="263"/>
        </pc:sldMkLst>
        <pc:spChg chg="mod">
          <ac:chgData name="Cummins, Peter" userId="3e019fb5-f2e4-456c-8856-6883cde3d59a" providerId="ADAL" clId="{56385BD5-F090-4EFA-A974-3BFEC3FA9E29}" dt="2025-10-03T16:21:49.219" v="3997" actId="20577"/>
          <ac:spMkLst>
            <pc:docMk/>
            <pc:sldMk cId="3734919812" sldId="263"/>
            <ac:spMk id="2" creationId="{1C270B2B-B1D7-17D5-5811-152D01FB0D5C}"/>
          </ac:spMkLst>
        </pc:spChg>
      </pc:sldChg>
      <pc:sldChg chg="del">
        <pc:chgData name="Cummins, Peter" userId="3e019fb5-f2e4-456c-8856-6883cde3d59a" providerId="ADAL" clId="{56385BD5-F090-4EFA-A974-3BFEC3FA9E29}" dt="2025-09-29T14:10:27.215" v="801" actId="47"/>
        <pc:sldMkLst>
          <pc:docMk/>
          <pc:sldMk cId="1777671300" sldId="269"/>
        </pc:sldMkLst>
      </pc:sldChg>
      <pc:sldChg chg="modSp mod ord">
        <pc:chgData name="Cummins, Peter" userId="3e019fb5-f2e4-456c-8856-6883cde3d59a" providerId="ADAL" clId="{56385BD5-F090-4EFA-A974-3BFEC3FA9E29}" dt="2025-10-01T20:50:31.571" v="1611"/>
        <pc:sldMkLst>
          <pc:docMk/>
          <pc:sldMk cId="176300855" sldId="303"/>
        </pc:sldMkLst>
        <pc:spChg chg="mod">
          <ac:chgData name="Cummins, Peter" userId="3e019fb5-f2e4-456c-8856-6883cde3d59a" providerId="ADAL" clId="{56385BD5-F090-4EFA-A974-3BFEC3FA9E29}" dt="2025-09-26T16:50:23.994" v="130" actId="6549"/>
          <ac:spMkLst>
            <pc:docMk/>
            <pc:sldMk cId="176300855" sldId="303"/>
            <ac:spMk id="2" creationId="{87AD5E52-2FA6-0962-8314-C2F4C8F076DC}"/>
          </ac:spMkLst>
        </pc:spChg>
        <pc:spChg chg="mod">
          <ac:chgData name="Cummins, Peter" userId="3e019fb5-f2e4-456c-8856-6883cde3d59a" providerId="ADAL" clId="{56385BD5-F090-4EFA-A974-3BFEC3FA9E29}" dt="2025-09-26T16:51:16.569" v="181" actId="20577"/>
          <ac:spMkLst>
            <pc:docMk/>
            <pc:sldMk cId="176300855" sldId="303"/>
            <ac:spMk id="4" creationId="{EB5DCF44-DECD-DD72-8048-3B4A85395311}"/>
          </ac:spMkLst>
        </pc:spChg>
      </pc:sldChg>
      <pc:sldChg chg="addSp delSp modSp add mod ord">
        <pc:chgData name="Cummins, Peter" userId="3e019fb5-f2e4-456c-8856-6883cde3d59a" providerId="ADAL" clId="{56385BD5-F090-4EFA-A974-3BFEC3FA9E29}" dt="2025-10-01T22:31:59.498" v="2505"/>
        <pc:sldMkLst>
          <pc:docMk/>
          <pc:sldMk cId="3658923509" sldId="310"/>
        </pc:sldMkLst>
      </pc:sldChg>
      <pc:sldChg chg="addSp delSp modSp add mod ord">
        <pc:chgData name="Cummins, Peter" userId="3e019fb5-f2e4-456c-8856-6883cde3d59a" providerId="ADAL" clId="{56385BD5-F090-4EFA-A974-3BFEC3FA9E29}" dt="2025-10-01T22:33:56.281" v="2548"/>
        <pc:sldMkLst>
          <pc:docMk/>
          <pc:sldMk cId="3826880650" sldId="339"/>
        </pc:sldMkLst>
      </pc:sldChg>
      <pc:sldChg chg="addSp delSp modSp add mod ord">
        <pc:chgData name="Cummins, Peter" userId="3e019fb5-f2e4-456c-8856-6883cde3d59a" providerId="ADAL" clId="{56385BD5-F090-4EFA-A974-3BFEC3FA9E29}" dt="2025-10-01T20:50:04.348" v="1609" actId="1035"/>
        <pc:sldMkLst>
          <pc:docMk/>
          <pc:sldMk cId="1109477652" sldId="377"/>
        </pc:sldMkLst>
        <pc:spChg chg="mod">
          <ac:chgData name="Cummins, Peter" userId="3e019fb5-f2e4-456c-8856-6883cde3d59a" providerId="ADAL" clId="{56385BD5-F090-4EFA-A974-3BFEC3FA9E29}" dt="2025-10-01T20:47:32.312" v="1348" actId="20577"/>
          <ac:spMkLst>
            <pc:docMk/>
            <pc:sldMk cId="1109477652" sldId="377"/>
            <ac:spMk id="2" creationId="{64DF5571-F472-CEFA-5A89-3908500FB840}"/>
          </ac:spMkLst>
        </pc:spChg>
        <pc:spChg chg="mod">
          <ac:chgData name="Cummins, Peter" userId="3e019fb5-f2e4-456c-8856-6883cde3d59a" providerId="ADAL" clId="{56385BD5-F090-4EFA-A974-3BFEC3FA9E29}" dt="2025-10-01T20:50:00.028" v="1604" actId="20577"/>
          <ac:spMkLst>
            <pc:docMk/>
            <pc:sldMk cId="1109477652" sldId="377"/>
            <ac:spMk id="5" creationId="{44F43D08-4113-6784-F4CC-0E10A7364D1D}"/>
          </ac:spMkLst>
        </pc:spChg>
        <pc:spChg chg="mod">
          <ac:chgData name="Cummins, Peter" userId="3e019fb5-f2e4-456c-8856-6883cde3d59a" providerId="ADAL" clId="{56385BD5-F090-4EFA-A974-3BFEC3FA9E29}" dt="2025-10-01T20:50:04.348" v="1609" actId="1035"/>
          <ac:spMkLst>
            <pc:docMk/>
            <pc:sldMk cId="1109477652" sldId="377"/>
            <ac:spMk id="22" creationId="{1CA094E2-2ADD-7757-C326-0431055F6A51}"/>
          </ac:spMkLst>
        </pc:spChg>
        <pc:spChg chg="add mod">
          <ac:chgData name="Cummins, Peter" userId="3e019fb5-f2e4-456c-8856-6883cde3d59a" providerId="ADAL" clId="{56385BD5-F090-4EFA-A974-3BFEC3FA9E29}" dt="2025-09-29T19:13:01.718" v="1043"/>
          <ac:spMkLst>
            <pc:docMk/>
            <pc:sldMk cId="1109477652" sldId="377"/>
            <ac:spMk id="23" creationId="{550DF8DB-4863-A2F4-509D-460DCE2773DE}"/>
          </ac:spMkLst>
        </pc:spChg>
      </pc:sldChg>
      <pc:sldChg chg="addSp delSp modSp add mod ord">
        <pc:chgData name="Cummins, Peter" userId="3e019fb5-f2e4-456c-8856-6883cde3d59a" providerId="ADAL" clId="{56385BD5-F090-4EFA-A974-3BFEC3FA9E29}" dt="2025-10-01T22:31:29.235" v="2503"/>
        <pc:sldMkLst>
          <pc:docMk/>
          <pc:sldMk cId="3847568901" sldId="378"/>
        </pc:sldMkLst>
        <pc:spChg chg="mod">
          <ac:chgData name="Cummins, Peter" userId="3e019fb5-f2e4-456c-8856-6883cde3d59a" providerId="ADAL" clId="{56385BD5-F090-4EFA-A974-3BFEC3FA9E29}" dt="2025-09-29T19:03:06.344" v="963" actId="6549"/>
          <ac:spMkLst>
            <pc:docMk/>
            <pc:sldMk cId="3847568901" sldId="378"/>
            <ac:spMk id="3" creationId="{D96AAD31-312C-3ABF-8C2F-E1C86087A93C}"/>
          </ac:spMkLst>
        </pc:spChg>
      </pc:sldChg>
      <pc:sldChg chg="addSp modSp new mod">
        <pc:chgData name="Cummins, Peter" userId="3e019fb5-f2e4-456c-8856-6883cde3d59a" providerId="ADAL" clId="{56385BD5-F090-4EFA-A974-3BFEC3FA9E29}" dt="2025-10-03T15:06:04.207" v="3159" actId="313"/>
        <pc:sldMkLst>
          <pc:docMk/>
          <pc:sldMk cId="1330599706" sldId="381"/>
        </pc:sldMkLst>
        <pc:spChg chg="mod">
          <ac:chgData name="Cummins, Peter" userId="3e019fb5-f2e4-456c-8856-6883cde3d59a" providerId="ADAL" clId="{56385BD5-F090-4EFA-A974-3BFEC3FA9E29}" dt="2025-10-01T20:59:23.682" v="2187" actId="20577"/>
          <ac:spMkLst>
            <pc:docMk/>
            <pc:sldMk cId="1330599706" sldId="381"/>
            <ac:spMk id="2" creationId="{D15C58C4-93B6-C4FB-5D3C-C4CF3A5F8B2F}"/>
          </ac:spMkLst>
        </pc:spChg>
        <pc:spChg chg="add mod">
          <ac:chgData name="Cummins, Peter" userId="3e019fb5-f2e4-456c-8856-6883cde3d59a" providerId="ADAL" clId="{56385BD5-F090-4EFA-A974-3BFEC3FA9E29}" dt="2025-10-03T15:02:37.333" v="2997" actId="2711"/>
          <ac:spMkLst>
            <pc:docMk/>
            <pc:sldMk cId="1330599706" sldId="381"/>
            <ac:spMk id="5" creationId="{6BCBD649-CBC6-A983-78B1-05358C5C318D}"/>
          </ac:spMkLst>
        </pc:spChg>
      </pc:sldChg>
      <pc:sldChg chg="addSp delSp modSp new mod">
        <pc:chgData name="Cummins, Peter" userId="3e019fb5-f2e4-456c-8856-6883cde3d59a" providerId="ADAL" clId="{56385BD5-F090-4EFA-A974-3BFEC3FA9E29}" dt="2025-10-03T15:44:54.021" v="3425" actId="2711"/>
        <pc:sldMkLst>
          <pc:docMk/>
          <pc:sldMk cId="2613068223" sldId="383"/>
        </pc:sldMkLst>
        <pc:spChg chg="mod">
          <ac:chgData name="Cummins, Peter" userId="3e019fb5-f2e4-456c-8856-6883cde3d59a" providerId="ADAL" clId="{56385BD5-F090-4EFA-A974-3BFEC3FA9E29}" dt="2025-10-01T22:28:53.678" v="2391" actId="20577"/>
          <ac:spMkLst>
            <pc:docMk/>
            <pc:sldMk cId="2613068223" sldId="383"/>
            <ac:spMk id="2" creationId="{9DE92E56-8219-E549-2B1D-1DE4F9BCEC78}"/>
          </ac:spMkLst>
        </pc:spChg>
        <pc:spChg chg="add mod">
          <ac:chgData name="Cummins, Peter" userId="3e019fb5-f2e4-456c-8856-6883cde3d59a" providerId="ADAL" clId="{56385BD5-F090-4EFA-A974-3BFEC3FA9E29}" dt="2025-10-03T15:44:54.021" v="3425" actId="2711"/>
          <ac:spMkLst>
            <pc:docMk/>
            <pc:sldMk cId="2613068223" sldId="383"/>
            <ac:spMk id="6" creationId="{19079859-1414-B7B0-4CFB-A3159C3606B2}"/>
          </ac:spMkLst>
        </pc:spChg>
      </pc:sldChg>
      <pc:sldChg chg="addSp delSp modSp new mod">
        <pc:chgData name="Cummins, Peter" userId="3e019fb5-f2e4-456c-8856-6883cde3d59a" providerId="ADAL" clId="{56385BD5-F090-4EFA-A974-3BFEC3FA9E29}" dt="2025-10-03T15:44:47.408" v="3424" actId="2711"/>
        <pc:sldMkLst>
          <pc:docMk/>
          <pc:sldMk cId="4282836190" sldId="384"/>
        </pc:sldMkLst>
        <pc:spChg chg="mod">
          <ac:chgData name="Cummins, Peter" userId="3e019fb5-f2e4-456c-8856-6883cde3d59a" providerId="ADAL" clId="{56385BD5-F090-4EFA-A974-3BFEC3FA9E29}" dt="2025-10-01T22:29:12.914" v="2409" actId="20577"/>
          <ac:spMkLst>
            <pc:docMk/>
            <pc:sldMk cId="4282836190" sldId="384"/>
            <ac:spMk id="2" creationId="{600BA84D-42CE-C97C-74F2-B1947C42CC7C}"/>
          </ac:spMkLst>
        </pc:spChg>
        <pc:spChg chg="add mod">
          <ac:chgData name="Cummins, Peter" userId="3e019fb5-f2e4-456c-8856-6883cde3d59a" providerId="ADAL" clId="{56385BD5-F090-4EFA-A974-3BFEC3FA9E29}" dt="2025-10-03T15:44:47.408" v="3424" actId="2711"/>
          <ac:spMkLst>
            <pc:docMk/>
            <pc:sldMk cId="4282836190" sldId="384"/>
            <ac:spMk id="7" creationId="{6C9247BF-F9B1-73A2-87F4-1CD6C3A8F702}"/>
          </ac:spMkLst>
        </pc:spChg>
      </pc:sldChg>
      <pc:sldChg chg="addSp modSp new mod">
        <pc:chgData name="Cummins, Peter" userId="3e019fb5-f2e4-456c-8856-6883cde3d59a" providerId="ADAL" clId="{56385BD5-F090-4EFA-A974-3BFEC3FA9E29}" dt="2025-10-03T15:55:42.624" v="3463" actId="20577"/>
        <pc:sldMkLst>
          <pc:docMk/>
          <pc:sldMk cId="310257709" sldId="385"/>
        </pc:sldMkLst>
        <pc:spChg chg="mod">
          <ac:chgData name="Cummins, Peter" userId="3e019fb5-f2e4-456c-8856-6883cde3d59a" providerId="ADAL" clId="{56385BD5-F090-4EFA-A974-3BFEC3FA9E29}" dt="2025-10-01T22:29:40.015" v="2443" actId="20577"/>
          <ac:spMkLst>
            <pc:docMk/>
            <pc:sldMk cId="310257709" sldId="385"/>
            <ac:spMk id="2" creationId="{E3F49CC2-27B9-858A-B289-C39392FAFEEE}"/>
          </ac:spMkLst>
        </pc:spChg>
        <pc:spChg chg="add mod">
          <ac:chgData name="Cummins, Peter" userId="3e019fb5-f2e4-456c-8856-6883cde3d59a" providerId="ADAL" clId="{56385BD5-F090-4EFA-A974-3BFEC3FA9E29}" dt="2025-10-03T15:55:42.624" v="3463" actId="20577"/>
          <ac:spMkLst>
            <pc:docMk/>
            <pc:sldMk cId="310257709" sldId="385"/>
            <ac:spMk id="6" creationId="{5580CD8C-1B6B-1472-44ED-775AA1678134}"/>
          </ac:spMkLst>
        </pc:spChg>
      </pc:sldChg>
      <pc:sldChg chg="addSp modSp new mod">
        <pc:chgData name="Cummins, Peter" userId="3e019fb5-f2e4-456c-8856-6883cde3d59a" providerId="ADAL" clId="{56385BD5-F090-4EFA-A974-3BFEC3FA9E29}" dt="2025-10-03T15:58:57.901" v="3523" actId="404"/>
        <pc:sldMkLst>
          <pc:docMk/>
          <pc:sldMk cId="1608003657" sldId="386"/>
        </pc:sldMkLst>
        <pc:spChg chg="mod">
          <ac:chgData name="Cummins, Peter" userId="3e019fb5-f2e4-456c-8856-6883cde3d59a" providerId="ADAL" clId="{56385BD5-F090-4EFA-A974-3BFEC3FA9E29}" dt="2025-10-01T22:30:04.807" v="2470" actId="20577"/>
          <ac:spMkLst>
            <pc:docMk/>
            <pc:sldMk cId="1608003657" sldId="386"/>
            <ac:spMk id="2" creationId="{72D26F48-C5C7-AD93-C193-FAB395EFBB27}"/>
          </ac:spMkLst>
        </pc:spChg>
        <pc:spChg chg="add mod">
          <ac:chgData name="Cummins, Peter" userId="3e019fb5-f2e4-456c-8856-6883cde3d59a" providerId="ADAL" clId="{56385BD5-F090-4EFA-A974-3BFEC3FA9E29}" dt="2025-10-03T15:58:57.901" v="3523" actId="404"/>
          <ac:spMkLst>
            <pc:docMk/>
            <pc:sldMk cId="1608003657" sldId="386"/>
            <ac:spMk id="6" creationId="{D1738C75-508D-76FB-098B-0385FCD90496}"/>
          </ac:spMkLst>
        </pc:spChg>
      </pc:sldChg>
      <pc:sldChg chg="addSp delSp modSp new mod">
        <pc:chgData name="Cummins, Peter" userId="3e019fb5-f2e4-456c-8856-6883cde3d59a" providerId="ADAL" clId="{56385BD5-F090-4EFA-A974-3BFEC3FA9E29}" dt="2025-10-03T16:16:42.533" v="3827" actId="6549"/>
        <pc:sldMkLst>
          <pc:docMk/>
          <pc:sldMk cId="2584432994" sldId="387"/>
        </pc:sldMkLst>
        <pc:spChg chg="mod">
          <ac:chgData name="Cummins, Peter" userId="3e019fb5-f2e4-456c-8856-6883cde3d59a" providerId="ADAL" clId="{56385BD5-F090-4EFA-A974-3BFEC3FA9E29}" dt="2025-10-01T22:30:24.528" v="2495" actId="5793"/>
          <ac:spMkLst>
            <pc:docMk/>
            <pc:sldMk cId="2584432994" sldId="387"/>
            <ac:spMk id="2" creationId="{8B4D7840-54D3-0F6B-48D4-96E91ED604AB}"/>
          </ac:spMkLst>
        </pc:spChg>
        <pc:spChg chg="add mod">
          <ac:chgData name="Cummins, Peter" userId="3e019fb5-f2e4-456c-8856-6883cde3d59a" providerId="ADAL" clId="{56385BD5-F090-4EFA-A974-3BFEC3FA9E29}" dt="2025-10-03T16:12:51.722" v="3784" actId="403"/>
          <ac:spMkLst>
            <pc:docMk/>
            <pc:sldMk cId="2584432994" sldId="387"/>
            <ac:spMk id="32" creationId="{DF6455B3-BB42-33EB-22FB-B8CF699B4750}"/>
          </ac:spMkLst>
        </pc:spChg>
      </pc:sldChg>
      <pc:sldChg chg="addSp modSp new mod">
        <pc:chgData name="Cummins, Peter" userId="3e019fb5-f2e4-456c-8856-6883cde3d59a" providerId="ADAL" clId="{56385BD5-F090-4EFA-A974-3BFEC3FA9E29}" dt="2025-10-03T14:57:44.556" v="2979" actId="14100"/>
        <pc:sldMkLst>
          <pc:docMk/>
          <pc:sldMk cId="5639202" sldId="388"/>
        </pc:sldMkLst>
        <pc:spChg chg="mod">
          <ac:chgData name="Cummins, Peter" userId="3e019fb5-f2e4-456c-8856-6883cde3d59a" providerId="ADAL" clId="{56385BD5-F090-4EFA-A974-3BFEC3FA9E29}" dt="2025-10-03T14:40:49.192" v="2810" actId="20577"/>
          <ac:spMkLst>
            <pc:docMk/>
            <pc:sldMk cId="5639202" sldId="388"/>
            <ac:spMk id="2" creationId="{B8FF347F-1F46-A0B4-D9E1-E410B1678BE2}"/>
          </ac:spMkLst>
        </pc:spChg>
        <pc:spChg chg="add mod">
          <ac:chgData name="Cummins, Peter" userId="3e019fb5-f2e4-456c-8856-6883cde3d59a" providerId="ADAL" clId="{56385BD5-F090-4EFA-A974-3BFEC3FA9E29}" dt="2025-10-03T14:57:44.556" v="2979" actId="14100"/>
          <ac:spMkLst>
            <pc:docMk/>
            <pc:sldMk cId="5639202" sldId="388"/>
            <ac:spMk id="6" creationId="{6CC4938A-33BB-955B-C18F-30E5148095CA}"/>
          </ac:spMkLst>
        </pc:spChg>
      </pc:sldChg>
      <pc:sldChg chg="addSp modSp new mod">
        <pc:chgData name="Cummins, Peter" userId="3e019fb5-f2e4-456c-8856-6883cde3d59a" providerId="ADAL" clId="{56385BD5-F090-4EFA-A974-3BFEC3FA9E29}" dt="2025-10-03T14:58:03.928" v="2982" actId="1076"/>
        <pc:sldMkLst>
          <pc:docMk/>
          <pc:sldMk cId="2646508607" sldId="389"/>
        </pc:sldMkLst>
        <pc:spChg chg="mod">
          <ac:chgData name="Cummins, Peter" userId="3e019fb5-f2e4-456c-8856-6883cde3d59a" providerId="ADAL" clId="{56385BD5-F090-4EFA-A974-3BFEC3FA9E29}" dt="2025-10-03T14:49:09.362" v="2881" actId="20577"/>
          <ac:spMkLst>
            <pc:docMk/>
            <pc:sldMk cId="2646508607" sldId="389"/>
            <ac:spMk id="2" creationId="{E6C15605-6F3D-9627-42E9-30A454D19A43}"/>
          </ac:spMkLst>
        </pc:spChg>
        <pc:spChg chg="add mod">
          <ac:chgData name="Cummins, Peter" userId="3e019fb5-f2e4-456c-8856-6883cde3d59a" providerId="ADAL" clId="{56385BD5-F090-4EFA-A974-3BFEC3FA9E29}" dt="2025-10-03T14:58:03.928" v="2982" actId="1076"/>
          <ac:spMkLst>
            <pc:docMk/>
            <pc:sldMk cId="2646508607" sldId="389"/>
            <ac:spMk id="6" creationId="{B8CA1BA3-A3D9-745A-E540-4BE19F8B3E53}"/>
          </ac:spMkLst>
        </pc:spChg>
      </pc:sldChg>
      <pc:sldChg chg="addSp modSp new mod">
        <pc:chgData name="Cummins, Peter" userId="3e019fb5-f2e4-456c-8856-6883cde3d59a" providerId="ADAL" clId="{56385BD5-F090-4EFA-A974-3BFEC3FA9E29}" dt="2025-10-03T15:12:38.409" v="3179" actId="12"/>
        <pc:sldMkLst>
          <pc:docMk/>
          <pc:sldMk cId="3437604264" sldId="390"/>
        </pc:sldMkLst>
        <pc:spChg chg="mod">
          <ac:chgData name="Cummins, Peter" userId="3e019fb5-f2e4-456c-8856-6883cde3d59a" providerId="ADAL" clId="{56385BD5-F090-4EFA-A974-3BFEC3FA9E29}" dt="2025-10-03T14:50:56.936" v="2915" actId="20577"/>
          <ac:spMkLst>
            <pc:docMk/>
            <pc:sldMk cId="3437604264" sldId="390"/>
            <ac:spMk id="2" creationId="{9171CCB8-8F4E-5B67-A5C8-A9149080AFDF}"/>
          </ac:spMkLst>
        </pc:spChg>
        <pc:spChg chg="add mod">
          <ac:chgData name="Cummins, Peter" userId="3e019fb5-f2e4-456c-8856-6883cde3d59a" providerId="ADAL" clId="{56385BD5-F090-4EFA-A974-3BFEC3FA9E29}" dt="2025-10-03T15:12:38.409" v="3179" actId="12"/>
          <ac:spMkLst>
            <pc:docMk/>
            <pc:sldMk cId="3437604264" sldId="390"/>
            <ac:spMk id="6" creationId="{25C07E58-ABB2-662B-ACEA-DC31419FBBE1}"/>
          </ac:spMkLst>
        </pc:spChg>
      </pc:sldChg>
    </pc:docChg>
  </pc:docChgLst>
  <pc:docChgLst>
    <pc:chgData name="MacDonald, Troy" userId="S::troy.macdonald@doane.gt.ca::02444585-6b1a-4420-82ab-9c66e7bdcef6" providerId="AD" clId="Web-{7F417421-45DC-F69B-7179-7C48E74446F4}"/>
    <pc:docChg chg="modSld">
      <pc:chgData name="MacDonald, Troy" userId="S::troy.macdonald@doane.gt.ca::02444585-6b1a-4420-82ab-9c66e7bdcef6" providerId="AD" clId="Web-{7F417421-45DC-F69B-7179-7C48E74446F4}" dt="2025-10-23T15:24:03.027" v="391" actId="14100"/>
      <pc:docMkLst>
        <pc:docMk/>
      </pc:docMkLst>
      <pc:sldChg chg="modSp">
        <pc:chgData name="MacDonald, Troy" userId="S::troy.macdonald@doane.gt.ca::02444585-6b1a-4420-82ab-9c66e7bdcef6" providerId="AD" clId="Web-{7F417421-45DC-F69B-7179-7C48E74446F4}" dt="2025-10-23T15:22:45.104" v="370" actId="20577"/>
        <pc:sldMkLst>
          <pc:docMk/>
          <pc:sldMk cId="3826880650" sldId="339"/>
        </pc:sldMkLst>
        <pc:spChg chg="mod">
          <ac:chgData name="MacDonald, Troy" userId="S::troy.macdonald@doane.gt.ca::02444585-6b1a-4420-82ab-9c66e7bdcef6" providerId="AD" clId="Web-{7F417421-45DC-F69B-7179-7C48E74446F4}" dt="2025-10-23T15:22:45.104" v="370" actId="20577"/>
          <ac:spMkLst>
            <pc:docMk/>
            <pc:sldMk cId="3826880650" sldId="339"/>
            <ac:spMk id="9" creationId="{502B55BD-3C5A-FACE-9D70-0D8FBB215949}"/>
          </ac:spMkLst>
        </pc:spChg>
      </pc:sldChg>
      <pc:sldChg chg="modSp">
        <pc:chgData name="MacDonald, Troy" userId="S::troy.macdonald@doane.gt.ca::02444585-6b1a-4420-82ab-9c66e7bdcef6" providerId="AD" clId="Web-{7F417421-45DC-F69B-7179-7C48E74446F4}" dt="2025-10-23T15:24:03.027" v="391" actId="14100"/>
        <pc:sldMkLst>
          <pc:docMk/>
          <pc:sldMk cId="3847568901" sldId="378"/>
        </pc:sldMkLst>
        <pc:spChg chg="mod">
          <ac:chgData name="MacDonald, Troy" userId="S::troy.macdonald@doane.gt.ca::02444585-6b1a-4420-82ab-9c66e7bdcef6" providerId="AD" clId="Web-{7F417421-45DC-F69B-7179-7C48E74446F4}" dt="2025-10-23T15:24:03.027" v="391" actId="14100"/>
          <ac:spMkLst>
            <pc:docMk/>
            <pc:sldMk cId="3847568901" sldId="378"/>
            <ac:spMk id="9" creationId="{F9A231B1-0877-62C1-6AF5-3BFABCD8CFBD}"/>
          </ac:spMkLst>
        </pc:spChg>
      </pc:sldChg>
      <pc:sldChg chg="modSp">
        <pc:chgData name="MacDonald, Troy" userId="S::troy.macdonald@doane.gt.ca::02444585-6b1a-4420-82ab-9c66e7bdcef6" providerId="AD" clId="Web-{7F417421-45DC-F69B-7179-7C48E74446F4}" dt="2025-10-23T15:09:40.423" v="93" actId="20577"/>
        <pc:sldMkLst>
          <pc:docMk/>
          <pc:sldMk cId="2613068223" sldId="383"/>
        </pc:sldMkLst>
        <pc:spChg chg="mod">
          <ac:chgData name="MacDonald, Troy" userId="S::troy.macdonald@doane.gt.ca::02444585-6b1a-4420-82ab-9c66e7bdcef6" providerId="AD" clId="Web-{7F417421-45DC-F69B-7179-7C48E74446F4}" dt="2025-10-23T15:09:40.423" v="93" actId="20577"/>
          <ac:spMkLst>
            <pc:docMk/>
            <pc:sldMk cId="2613068223" sldId="383"/>
            <ac:spMk id="6" creationId="{19079859-1414-B7B0-4CFB-A3159C3606B2}"/>
          </ac:spMkLst>
        </pc:spChg>
      </pc:sldChg>
      <pc:sldChg chg="modSp">
        <pc:chgData name="MacDonald, Troy" userId="S::troy.macdonald@doane.gt.ca::02444585-6b1a-4420-82ab-9c66e7bdcef6" providerId="AD" clId="Web-{7F417421-45DC-F69B-7179-7C48E74446F4}" dt="2025-10-23T15:14:41.630" v="356" actId="20577"/>
        <pc:sldMkLst>
          <pc:docMk/>
          <pc:sldMk cId="4282836190" sldId="384"/>
        </pc:sldMkLst>
        <pc:spChg chg="mod">
          <ac:chgData name="MacDonald, Troy" userId="S::troy.macdonald@doane.gt.ca::02444585-6b1a-4420-82ab-9c66e7bdcef6" providerId="AD" clId="Web-{7F417421-45DC-F69B-7179-7C48E74446F4}" dt="2025-10-23T15:14:41.630" v="356" actId="20577"/>
          <ac:spMkLst>
            <pc:docMk/>
            <pc:sldMk cId="4282836190" sldId="384"/>
            <ac:spMk id="7" creationId="{6C9247BF-F9B1-73A2-87F4-1CD6C3A8F702}"/>
          </ac:spMkLst>
        </pc:spChg>
      </pc:sldChg>
      <pc:sldChg chg="modSp">
        <pc:chgData name="MacDonald, Troy" userId="S::troy.macdonald@doane.gt.ca::02444585-6b1a-4420-82ab-9c66e7bdcef6" providerId="AD" clId="Web-{7F417421-45DC-F69B-7179-7C48E74446F4}" dt="2025-10-23T14:57:45.601" v="8" actId="20577"/>
        <pc:sldMkLst>
          <pc:docMk/>
          <pc:sldMk cId="5639202" sldId="388"/>
        </pc:sldMkLst>
        <pc:spChg chg="mod">
          <ac:chgData name="MacDonald, Troy" userId="S::troy.macdonald@doane.gt.ca::02444585-6b1a-4420-82ab-9c66e7bdcef6" providerId="AD" clId="Web-{7F417421-45DC-F69B-7179-7C48E74446F4}" dt="2025-10-23T14:57:45.601" v="8" actId="20577"/>
          <ac:spMkLst>
            <pc:docMk/>
            <pc:sldMk cId="5639202" sldId="388"/>
            <ac:spMk id="6" creationId="{6CC4938A-33BB-955B-C18F-30E5148095CA}"/>
          </ac:spMkLst>
        </pc:spChg>
      </pc:sldChg>
      <pc:sldChg chg="modSp">
        <pc:chgData name="MacDonald, Troy" userId="S::troy.macdonald@doane.gt.ca::02444585-6b1a-4420-82ab-9c66e7bdcef6" providerId="AD" clId="Web-{7F417421-45DC-F69B-7179-7C48E74446F4}" dt="2025-10-23T14:58:08.508" v="24" actId="20577"/>
        <pc:sldMkLst>
          <pc:docMk/>
          <pc:sldMk cId="3437604264" sldId="390"/>
        </pc:sldMkLst>
        <pc:spChg chg="mod">
          <ac:chgData name="MacDonald, Troy" userId="S::troy.macdonald@doane.gt.ca::02444585-6b1a-4420-82ab-9c66e7bdcef6" providerId="AD" clId="Web-{7F417421-45DC-F69B-7179-7C48E74446F4}" dt="2025-10-23T14:58:08.508" v="24" actId="20577"/>
          <ac:spMkLst>
            <pc:docMk/>
            <pc:sldMk cId="3437604264" sldId="390"/>
            <ac:spMk id="6" creationId="{25C07E58-ABB2-662B-ACEA-DC31419FBBE1}"/>
          </ac:spMkLst>
        </pc:spChg>
      </pc:sldChg>
      <pc:sldChg chg="modSp">
        <pc:chgData name="MacDonald, Troy" userId="S::troy.macdonald@doane.gt.ca::02444585-6b1a-4420-82ab-9c66e7bdcef6" providerId="AD" clId="Web-{7F417421-45DC-F69B-7179-7C48E74446F4}" dt="2025-10-23T15:23:31.339" v="381" actId="20577"/>
        <pc:sldMkLst>
          <pc:docMk/>
          <pc:sldMk cId="1817970796" sldId="488"/>
        </pc:sldMkLst>
        <pc:spChg chg="mod">
          <ac:chgData name="MacDonald, Troy" userId="S::troy.macdonald@doane.gt.ca::02444585-6b1a-4420-82ab-9c66e7bdcef6" providerId="AD" clId="Web-{7F417421-45DC-F69B-7179-7C48E74446F4}" dt="2025-10-23T15:23:31.339" v="381" actId="20577"/>
          <ac:spMkLst>
            <pc:docMk/>
            <pc:sldMk cId="1817970796" sldId="488"/>
            <ac:spMk id="9" creationId="{672A1882-FBDD-7C24-9E6C-916BA2056291}"/>
          </ac:spMkLst>
        </pc:spChg>
      </pc:sldChg>
    </pc:docChg>
  </pc:docChgLst>
  <pc:docChgLst>
    <pc:chgData name="Cummins, Peter" userId="3e019fb5-f2e4-456c-8856-6883cde3d59a" providerId="ADAL" clId="{23282703-A95A-420D-94F1-876F24E92BA9}"/>
    <pc:docChg chg="undo redo custSel addSld delSld modSld sldOrd">
      <pc:chgData name="Cummins, Peter" userId="3e019fb5-f2e4-456c-8856-6883cde3d59a" providerId="ADAL" clId="{23282703-A95A-420D-94F1-876F24E92BA9}" dt="2025-10-27T21:03:33.226" v="7311" actId="6549"/>
      <pc:docMkLst>
        <pc:docMk/>
      </pc:docMkLst>
      <pc:sldChg chg="addSp delSp modSp mod">
        <pc:chgData name="Cummins, Peter" userId="3e019fb5-f2e4-456c-8856-6883cde3d59a" providerId="ADAL" clId="{23282703-A95A-420D-94F1-876F24E92BA9}" dt="2025-10-27T20:53:07.200" v="7304" actId="478"/>
        <pc:sldMkLst>
          <pc:docMk/>
          <pc:sldMk cId="3996231207" sldId="256"/>
        </pc:sldMkLst>
        <pc:spChg chg="add del mod">
          <ac:chgData name="Cummins, Peter" userId="3e019fb5-f2e4-456c-8856-6883cde3d59a" providerId="ADAL" clId="{23282703-A95A-420D-94F1-876F24E92BA9}" dt="2025-10-27T20:53:07.200" v="7304" actId="478"/>
          <ac:spMkLst>
            <pc:docMk/>
            <pc:sldMk cId="3996231207" sldId="256"/>
            <ac:spMk id="3" creationId="{07AA0382-8902-06C0-EE14-D77EE31E16DA}"/>
          </ac:spMkLst>
        </pc:spChg>
        <pc:spChg chg="del">
          <ac:chgData name="Cummins, Peter" userId="3e019fb5-f2e4-456c-8856-6883cde3d59a" providerId="ADAL" clId="{23282703-A95A-420D-94F1-876F24E92BA9}" dt="2025-10-27T20:53:05.218" v="7303" actId="478"/>
          <ac:spMkLst>
            <pc:docMk/>
            <pc:sldMk cId="3996231207" sldId="256"/>
            <ac:spMk id="4" creationId="{F4DB9182-0B80-8BA8-CF20-2CE6B64B01B8}"/>
          </ac:spMkLst>
        </pc:spChg>
        <pc:spChg chg="mod">
          <ac:chgData name="Cummins, Peter" userId="3e019fb5-f2e4-456c-8856-6883cde3d59a" providerId="ADAL" clId="{23282703-A95A-420D-94F1-876F24E92BA9}" dt="2025-10-23T00:17:20.143" v="4083" actId="20577"/>
          <ac:spMkLst>
            <pc:docMk/>
            <pc:sldMk cId="3996231207" sldId="256"/>
            <ac:spMk id="5" creationId="{A0532227-C5C6-7AE7-AD76-764D2EB4F662}"/>
          </ac:spMkLst>
        </pc:spChg>
        <pc:spChg chg="mod">
          <ac:chgData name="Cummins, Peter" userId="3e019fb5-f2e4-456c-8856-6883cde3d59a" providerId="ADAL" clId="{23282703-A95A-420D-94F1-876F24E92BA9}" dt="2025-10-23T13:23:03.287" v="4128" actId="207"/>
          <ac:spMkLst>
            <pc:docMk/>
            <pc:sldMk cId="3996231207" sldId="256"/>
            <ac:spMk id="6" creationId="{B99A6484-7860-470D-9D11-25A721ECDD0C}"/>
          </ac:spMkLst>
        </pc:spChg>
        <pc:spChg chg="mod">
          <ac:chgData name="Cummins, Peter" userId="3e019fb5-f2e4-456c-8856-6883cde3d59a" providerId="ADAL" clId="{23282703-A95A-420D-94F1-876F24E92BA9}" dt="2025-10-23T00:17:35.920" v="4116" actId="20577"/>
          <ac:spMkLst>
            <pc:docMk/>
            <pc:sldMk cId="3996231207" sldId="256"/>
            <ac:spMk id="7" creationId="{27D70963-EB2C-0FD5-B601-A755D5573A62}"/>
          </ac:spMkLst>
        </pc:spChg>
        <pc:picChg chg="add mod">
          <ac:chgData name="Cummins, Peter" userId="3e019fb5-f2e4-456c-8856-6883cde3d59a" providerId="ADAL" clId="{23282703-A95A-420D-94F1-876F24E92BA9}" dt="2025-10-22T23:27:39.729" v="3010" actId="1076"/>
          <ac:picMkLst>
            <pc:docMk/>
            <pc:sldMk cId="3996231207" sldId="256"/>
            <ac:picMk id="1028" creationId="{F6B828BB-3694-827A-4F2E-51A87BCC0561}"/>
          </ac:picMkLst>
        </pc:picChg>
      </pc:sldChg>
      <pc:sldChg chg="addSp delSp modSp mod">
        <pc:chgData name="Cummins, Peter" userId="3e019fb5-f2e4-456c-8856-6883cde3d59a" providerId="ADAL" clId="{23282703-A95A-420D-94F1-876F24E92BA9}" dt="2025-10-27T21:03:33.226" v="7311" actId="6549"/>
        <pc:sldMkLst>
          <pc:docMk/>
          <pc:sldMk cId="2665862193" sldId="259"/>
        </pc:sldMkLst>
        <pc:spChg chg="mod">
          <ac:chgData name="Cummins, Peter" userId="3e019fb5-f2e4-456c-8856-6883cde3d59a" providerId="ADAL" clId="{23282703-A95A-420D-94F1-876F24E92BA9}" dt="2025-10-27T21:03:33.226" v="7311" actId="6549"/>
          <ac:spMkLst>
            <pc:docMk/>
            <pc:sldMk cId="2665862193" sldId="259"/>
            <ac:spMk id="3" creationId="{7A9FEB3D-92D5-AF56-E227-B295D1E80E35}"/>
          </ac:spMkLst>
        </pc:spChg>
        <pc:spChg chg="add mod">
          <ac:chgData name="Cummins, Peter" userId="3e019fb5-f2e4-456c-8856-6883cde3d59a" providerId="ADAL" clId="{23282703-A95A-420D-94F1-876F24E92BA9}" dt="2025-10-23T14:31:36.435" v="4751"/>
          <ac:spMkLst>
            <pc:docMk/>
            <pc:sldMk cId="2665862193" sldId="259"/>
            <ac:spMk id="9" creationId="{EA59AD8A-BC5F-B11E-363C-F4F51B35842E}"/>
          </ac:spMkLst>
        </pc:spChg>
      </pc:sldChg>
      <pc:sldChg chg="addSp delSp modSp mod">
        <pc:chgData name="Cummins, Peter" userId="3e019fb5-f2e4-456c-8856-6883cde3d59a" providerId="ADAL" clId="{23282703-A95A-420D-94F1-876F24E92BA9}" dt="2025-10-23T16:03:54.302" v="5450" actId="6549"/>
        <pc:sldMkLst>
          <pc:docMk/>
          <pc:sldMk cId="3734919812" sldId="263"/>
        </pc:sldMkLst>
        <pc:spChg chg="mod">
          <ac:chgData name="Cummins, Peter" userId="3e019fb5-f2e4-456c-8856-6883cde3d59a" providerId="ADAL" clId="{23282703-A95A-420D-94F1-876F24E92BA9}" dt="2025-10-23T16:03:54.302" v="5450" actId="6549"/>
          <ac:spMkLst>
            <pc:docMk/>
            <pc:sldMk cId="3734919812" sldId="263"/>
            <ac:spMk id="2" creationId="{1C270B2B-B1D7-17D5-5811-152D01FB0D5C}"/>
          </ac:spMkLst>
        </pc:spChg>
        <pc:spChg chg="add mod">
          <ac:chgData name="Cummins, Peter" userId="3e019fb5-f2e4-456c-8856-6883cde3d59a" providerId="ADAL" clId="{23282703-A95A-420D-94F1-876F24E92BA9}" dt="2025-10-23T14:31:33.358" v="4749"/>
          <ac:spMkLst>
            <pc:docMk/>
            <pc:sldMk cId="3734919812" sldId="263"/>
            <ac:spMk id="5" creationId="{E6CA173D-8BB2-A3E2-73BC-BBB27E288FF0}"/>
          </ac:spMkLst>
        </pc:spChg>
      </pc:sldChg>
      <pc:sldChg chg="addSp modSp del">
        <pc:chgData name="Cummins, Peter" userId="3e019fb5-f2e4-456c-8856-6883cde3d59a" providerId="ADAL" clId="{23282703-A95A-420D-94F1-876F24E92BA9}" dt="2025-10-22T21:55:27.651" v="1708" actId="47"/>
        <pc:sldMkLst>
          <pc:docMk/>
          <pc:sldMk cId="962099580" sldId="267"/>
        </pc:sldMkLst>
      </pc:sldChg>
      <pc:sldChg chg="addSp delSp modSp add mod ord">
        <pc:chgData name="Cummins, Peter" userId="3e019fb5-f2e4-456c-8856-6883cde3d59a" providerId="ADAL" clId="{23282703-A95A-420D-94F1-876F24E92BA9}" dt="2025-10-23T16:04:19.167" v="5453"/>
        <pc:sldMkLst>
          <pc:docMk/>
          <pc:sldMk cId="1777671300" sldId="269"/>
        </pc:sldMkLst>
        <pc:spChg chg="mod">
          <ac:chgData name="Cummins, Peter" userId="3e019fb5-f2e4-456c-8856-6883cde3d59a" providerId="ADAL" clId="{23282703-A95A-420D-94F1-876F24E92BA9}" dt="2025-10-23T15:33:48.936" v="5025" actId="20577"/>
          <ac:spMkLst>
            <pc:docMk/>
            <pc:sldMk cId="1777671300" sldId="269"/>
            <ac:spMk id="2" creationId="{64DF5571-F472-CEFA-5A89-3908500FB840}"/>
          </ac:spMkLst>
        </pc:spChg>
        <pc:spChg chg="add mod">
          <ac:chgData name="Cummins, Peter" userId="3e019fb5-f2e4-456c-8856-6883cde3d59a" providerId="ADAL" clId="{23282703-A95A-420D-94F1-876F24E92BA9}" dt="2025-10-23T16:04:15.018" v="5452"/>
          <ac:spMkLst>
            <pc:docMk/>
            <pc:sldMk cId="1777671300" sldId="269"/>
            <ac:spMk id="9" creationId="{F55A3A80-EC71-AA01-8337-E15000F153F1}"/>
          </ac:spMkLst>
        </pc:spChg>
        <pc:spChg chg="mod">
          <ac:chgData name="Cummins, Peter" userId="3e019fb5-f2e4-456c-8856-6883cde3d59a" providerId="ADAL" clId="{23282703-A95A-420D-94F1-876F24E92BA9}" dt="2025-10-23T15:43:30.115" v="5186" actId="20577"/>
          <ac:spMkLst>
            <pc:docMk/>
            <pc:sldMk cId="1777671300" sldId="269"/>
            <ac:spMk id="10" creationId="{DC611F38-7976-0395-E0F1-B5B1E53CEDF9}"/>
          </ac:spMkLst>
        </pc:spChg>
        <pc:picChg chg="add mod">
          <ac:chgData name="Cummins, Peter" userId="3e019fb5-f2e4-456c-8856-6883cde3d59a" providerId="ADAL" clId="{23282703-A95A-420D-94F1-876F24E92BA9}" dt="2025-10-23T16:04:19.167" v="5453"/>
          <ac:picMkLst>
            <pc:docMk/>
            <pc:sldMk cId="1777671300" sldId="269"/>
            <ac:picMk id="11" creationId="{EFAFB48C-7D95-9E41-2FD1-3EF0642FCDAE}"/>
          </ac:picMkLst>
        </pc:picChg>
      </pc:sldChg>
      <pc:sldChg chg="addSp modSp del mod">
        <pc:chgData name="Cummins, Peter" userId="3e019fb5-f2e4-456c-8856-6883cde3d59a" providerId="ADAL" clId="{23282703-A95A-420D-94F1-876F24E92BA9}" dt="2025-10-22T22:05:09.228" v="1832" actId="47"/>
        <pc:sldMkLst>
          <pc:docMk/>
          <pc:sldMk cId="1268708209" sldId="273"/>
        </pc:sldMkLst>
      </pc:sldChg>
      <pc:sldChg chg="addSp delSp modSp mod">
        <pc:chgData name="Cummins, Peter" userId="3e019fb5-f2e4-456c-8856-6883cde3d59a" providerId="ADAL" clId="{23282703-A95A-420D-94F1-876F24E92BA9}" dt="2025-10-27T21:01:15.029" v="7307" actId="6549"/>
        <pc:sldMkLst>
          <pc:docMk/>
          <pc:sldMk cId="176300855" sldId="303"/>
        </pc:sldMkLst>
        <pc:spChg chg="mod">
          <ac:chgData name="Cummins, Peter" userId="3e019fb5-f2e4-456c-8856-6883cde3d59a" providerId="ADAL" clId="{23282703-A95A-420D-94F1-876F24E92BA9}" dt="2025-10-27T21:01:15.029" v="7307" actId="6549"/>
          <ac:spMkLst>
            <pc:docMk/>
            <pc:sldMk cId="176300855" sldId="303"/>
            <ac:spMk id="2" creationId="{87AD5E52-2FA6-0962-8314-C2F4C8F076DC}"/>
          </ac:spMkLst>
        </pc:spChg>
        <pc:spChg chg="mod">
          <ac:chgData name="Cummins, Peter" userId="3e019fb5-f2e4-456c-8856-6883cde3d59a" providerId="ADAL" clId="{23282703-A95A-420D-94F1-876F24E92BA9}" dt="2025-10-27T21:01:10.090" v="7306" actId="6549"/>
          <ac:spMkLst>
            <pc:docMk/>
            <pc:sldMk cId="176300855" sldId="303"/>
            <ac:spMk id="3" creationId="{57CBB6F4-CEDA-0143-0BA8-058089031042}"/>
          </ac:spMkLst>
        </pc:spChg>
        <pc:spChg chg="add mod">
          <ac:chgData name="Cummins, Peter" userId="3e019fb5-f2e4-456c-8856-6883cde3d59a" providerId="ADAL" clId="{23282703-A95A-420D-94F1-876F24E92BA9}" dt="2025-10-23T14:31:39.092" v="4753"/>
          <ac:spMkLst>
            <pc:docMk/>
            <pc:sldMk cId="176300855" sldId="303"/>
            <ac:spMk id="5" creationId="{5527170D-662D-DDC3-2210-B6711DD4B8CA}"/>
          </ac:spMkLst>
        </pc:spChg>
      </pc:sldChg>
      <pc:sldChg chg="addSp delSp modSp mod ord">
        <pc:chgData name="Cummins, Peter" userId="3e019fb5-f2e4-456c-8856-6883cde3d59a" providerId="ADAL" clId="{23282703-A95A-420D-94F1-876F24E92BA9}" dt="2025-10-23T14:20:33.805" v="4639" actId="6549"/>
        <pc:sldMkLst>
          <pc:docMk/>
          <pc:sldMk cId="3658923509" sldId="310"/>
        </pc:sldMkLst>
        <pc:spChg chg="add mod">
          <ac:chgData name="Cummins, Peter" userId="3e019fb5-f2e4-456c-8856-6883cde3d59a" providerId="ADAL" clId="{23282703-A95A-420D-94F1-876F24E92BA9}" dt="2025-10-23T13:28:11.482" v="4210"/>
          <ac:spMkLst>
            <pc:docMk/>
            <pc:sldMk cId="3658923509" sldId="310"/>
            <ac:spMk id="7" creationId="{D8CA08BE-AAA0-DB22-D40D-285BD429A193}"/>
          </ac:spMkLst>
        </pc:spChg>
        <pc:graphicFrameChg chg="mod modGraphic">
          <ac:chgData name="Cummins, Peter" userId="3e019fb5-f2e4-456c-8856-6883cde3d59a" providerId="ADAL" clId="{23282703-A95A-420D-94F1-876F24E92BA9}" dt="2025-10-23T14:20:33.805" v="4639" actId="6549"/>
          <ac:graphicFrameMkLst>
            <pc:docMk/>
            <pc:sldMk cId="3658923509" sldId="310"/>
            <ac:graphicFrameMk id="6" creationId="{EE1BAED1-C723-8A8C-44CA-239303C825FF}"/>
          </ac:graphicFrameMkLst>
        </pc:graphicFrameChg>
        <pc:picChg chg="add mod">
          <ac:chgData name="Cummins, Peter" userId="3e019fb5-f2e4-456c-8856-6883cde3d59a" providerId="ADAL" clId="{23282703-A95A-420D-94F1-876F24E92BA9}" dt="2025-10-22T21:40:37.193" v="1578"/>
          <ac:picMkLst>
            <pc:docMk/>
            <pc:sldMk cId="3658923509" sldId="310"/>
            <ac:picMk id="5" creationId="{E7861477-E7FF-B84B-9883-8D27F68923E2}"/>
          </ac:picMkLst>
        </pc:picChg>
      </pc:sldChg>
      <pc:sldChg chg="addSp modSp del">
        <pc:chgData name="Cummins, Peter" userId="3e019fb5-f2e4-456c-8856-6883cde3d59a" providerId="ADAL" clId="{23282703-A95A-420D-94F1-876F24E92BA9}" dt="2025-10-22T22:05:05.709" v="1831" actId="47"/>
        <pc:sldMkLst>
          <pc:docMk/>
          <pc:sldMk cId="3104520579" sldId="315"/>
        </pc:sldMkLst>
      </pc:sldChg>
      <pc:sldChg chg="del">
        <pc:chgData name="Cummins, Peter" userId="3e019fb5-f2e4-456c-8856-6883cde3d59a" providerId="ADAL" clId="{23282703-A95A-420D-94F1-876F24E92BA9}" dt="2025-10-22T19:48:27.971" v="879" actId="47"/>
        <pc:sldMkLst>
          <pc:docMk/>
          <pc:sldMk cId="2408498747" sldId="324"/>
        </pc:sldMkLst>
      </pc:sldChg>
      <pc:sldChg chg="addSp delSp modSp mod">
        <pc:chgData name="Cummins, Peter" userId="3e019fb5-f2e4-456c-8856-6883cde3d59a" providerId="ADAL" clId="{23282703-A95A-420D-94F1-876F24E92BA9}" dt="2025-10-23T20:06:18.166" v="7173" actId="13926"/>
        <pc:sldMkLst>
          <pc:docMk/>
          <pc:sldMk cId="3826880650" sldId="339"/>
        </pc:sldMkLst>
        <pc:spChg chg="add mod">
          <ac:chgData name="Cummins, Peter" userId="3e019fb5-f2e4-456c-8856-6883cde3d59a" providerId="ADAL" clId="{23282703-A95A-420D-94F1-876F24E92BA9}" dt="2025-10-23T13:27:43.475" v="4192"/>
          <ac:spMkLst>
            <pc:docMk/>
            <pc:sldMk cId="3826880650" sldId="339"/>
            <ac:spMk id="4" creationId="{8E29DEDB-65F0-DE52-D5B5-EDBB71F97DA4}"/>
          </ac:spMkLst>
        </pc:spChg>
        <pc:spChg chg="mod">
          <ac:chgData name="Cummins, Peter" userId="3e019fb5-f2e4-456c-8856-6883cde3d59a" providerId="ADAL" clId="{23282703-A95A-420D-94F1-876F24E92BA9}" dt="2025-10-22T22:49:28.369" v="2401" actId="6549"/>
          <ac:spMkLst>
            <pc:docMk/>
            <pc:sldMk cId="3826880650" sldId="339"/>
            <ac:spMk id="8" creationId="{56910F77-166B-E24E-1F42-8D6E433EB9FA}"/>
          </ac:spMkLst>
        </pc:spChg>
        <pc:spChg chg="mod">
          <ac:chgData name="Cummins, Peter" userId="3e019fb5-f2e4-456c-8856-6883cde3d59a" providerId="ADAL" clId="{23282703-A95A-420D-94F1-876F24E92BA9}" dt="2025-10-23T20:06:18.166" v="7173" actId="13926"/>
          <ac:spMkLst>
            <pc:docMk/>
            <pc:sldMk cId="3826880650" sldId="339"/>
            <ac:spMk id="9" creationId="{502B55BD-3C5A-FACE-9D70-0D8FBB215949}"/>
          </ac:spMkLst>
        </pc:spChg>
        <pc:picChg chg="add mod">
          <ac:chgData name="Cummins, Peter" userId="3e019fb5-f2e4-456c-8856-6883cde3d59a" providerId="ADAL" clId="{23282703-A95A-420D-94F1-876F24E92BA9}" dt="2025-10-22T21:40:26.023" v="1567"/>
          <ac:picMkLst>
            <pc:docMk/>
            <pc:sldMk cId="3826880650" sldId="339"/>
            <ac:picMk id="2" creationId="{A5B97A7E-C0AB-681D-6D3C-06FDDDA7D284}"/>
          </ac:picMkLst>
        </pc:picChg>
      </pc:sldChg>
      <pc:sldChg chg="del">
        <pc:chgData name="Cummins, Peter" userId="3e019fb5-f2e4-456c-8856-6883cde3d59a" providerId="ADAL" clId="{23282703-A95A-420D-94F1-876F24E92BA9}" dt="2025-10-22T19:47:58.004" v="875" actId="47"/>
        <pc:sldMkLst>
          <pc:docMk/>
          <pc:sldMk cId="3329690822" sldId="344"/>
        </pc:sldMkLst>
      </pc:sldChg>
      <pc:sldChg chg="del">
        <pc:chgData name="Cummins, Peter" userId="3e019fb5-f2e4-456c-8856-6883cde3d59a" providerId="ADAL" clId="{23282703-A95A-420D-94F1-876F24E92BA9}" dt="2025-10-22T19:48:18.970" v="877" actId="47"/>
        <pc:sldMkLst>
          <pc:docMk/>
          <pc:sldMk cId="2193203673" sldId="345"/>
        </pc:sldMkLst>
      </pc:sldChg>
      <pc:sldChg chg="del">
        <pc:chgData name="Cummins, Peter" userId="3e019fb5-f2e4-456c-8856-6883cde3d59a" providerId="ADAL" clId="{23282703-A95A-420D-94F1-876F24E92BA9}" dt="2025-10-22T19:48:18.970" v="877" actId="47"/>
        <pc:sldMkLst>
          <pc:docMk/>
          <pc:sldMk cId="3197331960" sldId="346"/>
        </pc:sldMkLst>
      </pc:sldChg>
      <pc:sldChg chg="del">
        <pc:chgData name="Cummins, Peter" userId="3e019fb5-f2e4-456c-8856-6883cde3d59a" providerId="ADAL" clId="{23282703-A95A-420D-94F1-876F24E92BA9}" dt="2025-10-22T19:48:18.970" v="877" actId="47"/>
        <pc:sldMkLst>
          <pc:docMk/>
          <pc:sldMk cId="2385431288" sldId="347"/>
        </pc:sldMkLst>
      </pc:sldChg>
      <pc:sldChg chg="del">
        <pc:chgData name="Cummins, Peter" userId="3e019fb5-f2e4-456c-8856-6883cde3d59a" providerId="ADAL" clId="{23282703-A95A-420D-94F1-876F24E92BA9}" dt="2025-10-22T19:48:18.970" v="877" actId="47"/>
        <pc:sldMkLst>
          <pc:docMk/>
          <pc:sldMk cId="3973855302" sldId="350"/>
        </pc:sldMkLst>
      </pc:sldChg>
      <pc:sldChg chg="del">
        <pc:chgData name="Cummins, Peter" userId="3e019fb5-f2e4-456c-8856-6883cde3d59a" providerId="ADAL" clId="{23282703-A95A-420D-94F1-876F24E92BA9}" dt="2025-10-22T19:48:18.970" v="877" actId="47"/>
        <pc:sldMkLst>
          <pc:docMk/>
          <pc:sldMk cId="2850411778" sldId="351"/>
        </pc:sldMkLst>
      </pc:sldChg>
      <pc:sldChg chg="del">
        <pc:chgData name="Cummins, Peter" userId="3e019fb5-f2e4-456c-8856-6883cde3d59a" providerId="ADAL" clId="{23282703-A95A-420D-94F1-876F24E92BA9}" dt="2025-10-22T19:48:18.970" v="877" actId="47"/>
        <pc:sldMkLst>
          <pc:docMk/>
          <pc:sldMk cId="1139864839" sldId="352"/>
        </pc:sldMkLst>
      </pc:sldChg>
      <pc:sldChg chg="del">
        <pc:chgData name="Cummins, Peter" userId="3e019fb5-f2e4-456c-8856-6883cde3d59a" providerId="ADAL" clId="{23282703-A95A-420D-94F1-876F24E92BA9}" dt="2025-10-22T19:48:09.506" v="876" actId="47"/>
        <pc:sldMkLst>
          <pc:docMk/>
          <pc:sldMk cId="1693126238" sldId="367"/>
        </pc:sldMkLst>
      </pc:sldChg>
      <pc:sldChg chg="delSp modSp mod">
        <pc:chgData name="Cummins, Peter" userId="3e019fb5-f2e4-456c-8856-6883cde3d59a" providerId="ADAL" clId="{23282703-A95A-420D-94F1-876F24E92BA9}" dt="2025-10-23T20:32:25.610" v="7302" actId="20577"/>
        <pc:sldMkLst>
          <pc:docMk/>
          <pc:sldMk cId="1109477652" sldId="377"/>
        </pc:sldMkLst>
        <pc:spChg chg="mod">
          <ac:chgData name="Cummins, Peter" userId="3e019fb5-f2e4-456c-8856-6883cde3d59a" providerId="ADAL" clId="{23282703-A95A-420D-94F1-876F24E92BA9}" dt="2025-10-23T20:32:25.610" v="7302" actId="20577"/>
          <ac:spMkLst>
            <pc:docMk/>
            <pc:sldMk cId="1109477652" sldId="377"/>
            <ac:spMk id="5" creationId="{44F43D08-4113-6784-F4CC-0E10A7364D1D}"/>
          </ac:spMkLst>
        </pc:spChg>
        <pc:spChg chg="mod">
          <ac:chgData name="Cummins, Peter" userId="3e019fb5-f2e4-456c-8856-6883cde3d59a" providerId="ADAL" clId="{23282703-A95A-420D-94F1-876F24E92BA9}" dt="2025-10-23T13:27:17.191" v="4173" actId="20577"/>
          <ac:spMkLst>
            <pc:docMk/>
            <pc:sldMk cId="1109477652" sldId="377"/>
            <ac:spMk id="23" creationId="{550DF8DB-4863-A2F4-509D-460DCE2773DE}"/>
          </ac:spMkLst>
        </pc:spChg>
      </pc:sldChg>
      <pc:sldChg chg="addSp delSp modSp mod ord">
        <pc:chgData name="Cummins, Peter" userId="3e019fb5-f2e4-456c-8856-6883cde3d59a" providerId="ADAL" clId="{23282703-A95A-420D-94F1-876F24E92BA9}" dt="2025-10-23T20:17:49.855" v="7244" actId="6549"/>
        <pc:sldMkLst>
          <pc:docMk/>
          <pc:sldMk cId="3847568901" sldId="378"/>
        </pc:sldMkLst>
        <pc:spChg chg="mod">
          <ac:chgData name="Cummins, Peter" userId="3e019fb5-f2e4-456c-8856-6883cde3d59a" providerId="ADAL" clId="{23282703-A95A-420D-94F1-876F24E92BA9}" dt="2025-10-22T22:50:16.364" v="2451" actId="20577"/>
          <ac:spMkLst>
            <pc:docMk/>
            <pc:sldMk cId="3847568901" sldId="378"/>
            <ac:spMk id="2" creationId="{FAC5D9EA-12ED-4661-1140-39816F49F151}"/>
          </ac:spMkLst>
        </pc:spChg>
        <pc:spChg chg="mod">
          <ac:chgData name="Cummins, Peter" userId="3e019fb5-f2e4-456c-8856-6883cde3d59a" providerId="ADAL" clId="{23282703-A95A-420D-94F1-876F24E92BA9}" dt="2025-10-23T20:17:49.855" v="7244" actId="6549"/>
          <ac:spMkLst>
            <pc:docMk/>
            <pc:sldMk cId="3847568901" sldId="378"/>
            <ac:spMk id="3" creationId="{D96AAD31-312C-3ABF-8C2F-E1C86087A93C}"/>
          </ac:spMkLst>
        </pc:spChg>
        <pc:spChg chg="add mod">
          <ac:chgData name="Cummins, Peter" userId="3e019fb5-f2e4-456c-8856-6883cde3d59a" providerId="ADAL" clId="{23282703-A95A-420D-94F1-876F24E92BA9}" dt="2025-10-23T19:26:50.875" v="5619"/>
          <ac:spMkLst>
            <pc:docMk/>
            <pc:sldMk cId="3847568901" sldId="378"/>
            <ac:spMk id="6" creationId="{BD49F033-8694-3350-F8C5-8B37EF6D8B94}"/>
          </ac:spMkLst>
        </pc:spChg>
        <pc:spChg chg="add mod">
          <ac:chgData name="Cummins, Peter" userId="3e019fb5-f2e4-456c-8856-6883cde3d59a" providerId="ADAL" clId="{23282703-A95A-420D-94F1-876F24E92BA9}" dt="2025-10-23T13:27:47.839" v="4196"/>
          <ac:spMkLst>
            <pc:docMk/>
            <pc:sldMk cId="3847568901" sldId="378"/>
            <ac:spMk id="8" creationId="{858A5500-1EA9-164A-A821-2E5A4029C892}"/>
          </ac:spMkLst>
        </pc:spChg>
        <pc:spChg chg="add mod">
          <ac:chgData name="Cummins, Peter" userId="3e019fb5-f2e4-456c-8856-6883cde3d59a" providerId="ADAL" clId="{23282703-A95A-420D-94F1-876F24E92BA9}" dt="2025-10-23T20:10:07.980" v="7199" actId="1035"/>
          <ac:spMkLst>
            <pc:docMk/>
            <pc:sldMk cId="3847568901" sldId="378"/>
            <ac:spMk id="9" creationId="{F9A231B1-0877-62C1-6AF5-3BFABCD8CFBD}"/>
          </ac:spMkLst>
        </pc:spChg>
        <pc:spChg chg="add mod">
          <ac:chgData name="Cummins, Peter" userId="3e019fb5-f2e4-456c-8856-6883cde3d59a" providerId="ADAL" clId="{23282703-A95A-420D-94F1-876F24E92BA9}" dt="2025-10-23T19:27:44.510" v="5821" actId="404"/>
          <ac:spMkLst>
            <pc:docMk/>
            <pc:sldMk cId="3847568901" sldId="378"/>
            <ac:spMk id="10" creationId="{7271F17B-000B-79C6-DDDD-B88351899669}"/>
          </ac:spMkLst>
        </pc:spChg>
        <pc:picChg chg="add mod">
          <ac:chgData name="Cummins, Peter" userId="3e019fb5-f2e4-456c-8856-6883cde3d59a" providerId="ADAL" clId="{23282703-A95A-420D-94F1-876F24E92BA9}" dt="2025-10-22T21:40:33.008" v="1573"/>
          <ac:picMkLst>
            <pc:docMk/>
            <pc:sldMk cId="3847568901" sldId="378"/>
            <ac:picMk id="7" creationId="{3A755376-DE6B-D4C7-74D3-77288EEEB115}"/>
          </ac:picMkLst>
        </pc:picChg>
      </pc:sldChg>
      <pc:sldChg chg="del">
        <pc:chgData name="Cummins, Peter" userId="3e019fb5-f2e4-456c-8856-6883cde3d59a" providerId="ADAL" clId="{23282703-A95A-420D-94F1-876F24E92BA9}" dt="2025-10-22T19:48:25.488" v="878" actId="47"/>
        <pc:sldMkLst>
          <pc:docMk/>
          <pc:sldMk cId="4288774087" sldId="380"/>
        </pc:sldMkLst>
      </pc:sldChg>
      <pc:sldChg chg="addSp delSp modSp mod">
        <pc:chgData name="Cummins, Peter" userId="3e019fb5-f2e4-456c-8856-6883cde3d59a" providerId="ADAL" clId="{23282703-A95A-420D-94F1-876F24E92BA9}" dt="2025-10-23T14:25:48.261" v="4722" actId="108"/>
        <pc:sldMkLst>
          <pc:docMk/>
          <pc:sldMk cId="1330599706" sldId="381"/>
        </pc:sldMkLst>
        <pc:spChg chg="mod">
          <ac:chgData name="Cummins, Peter" userId="3e019fb5-f2e4-456c-8856-6883cde3d59a" providerId="ADAL" clId="{23282703-A95A-420D-94F1-876F24E92BA9}" dt="2025-10-23T14:25:48.261" v="4722" actId="108"/>
          <ac:spMkLst>
            <pc:docMk/>
            <pc:sldMk cId="1330599706" sldId="381"/>
            <ac:spMk id="5" creationId="{6BCBD649-CBC6-A983-78B1-05358C5C318D}"/>
          </ac:spMkLst>
        </pc:spChg>
        <pc:spChg chg="add mod">
          <ac:chgData name="Cummins, Peter" userId="3e019fb5-f2e4-456c-8856-6883cde3d59a" providerId="ADAL" clId="{23282703-A95A-420D-94F1-876F24E92BA9}" dt="2025-10-23T13:27:52.716" v="4200"/>
          <ac:spMkLst>
            <pc:docMk/>
            <pc:sldMk cId="1330599706" sldId="381"/>
            <ac:spMk id="6" creationId="{1FEC8608-BD5E-991B-ABD9-C236BEAD5794}"/>
          </ac:spMkLst>
        </pc:spChg>
        <pc:picChg chg="add mod">
          <ac:chgData name="Cummins, Peter" userId="3e019fb5-f2e4-456c-8856-6883cde3d59a" providerId="ADAL" clId="{23282703-A95A-420D-94F1-876F24E92BA9}" dt="2025-10-22T21:40:30.632" v="1571"/>
          <ac:picMkLst>
            <pc:docMk/>
            <pc:sldMk cId="1330599706" sldId="381"/>
            <ac:picMk id="20" creationId="{2F5AA573-3D7A-C052-B300-9D7A69BAFF2B}"/>
          </ac:picMkLst>
        </pc:picChg>
      </pc:sldChg>
      <pc:sldChg chg="addSp delSp modSp mod ord">
        <pc:chgData name="Cummins, Peter" userId="3e019fb5-f2e4-456c-8856-6883cde3d59a" providerId="ADAL" clId="{23282703-A95A-420D-94F1-876F24E92BA9}" dt="2025-10-23T15:49:40.712" v="5238" actId="948"/>
        <pc:sldMkLst>
          <pc:docMk/>
          <pc:sldMk cId="2613068223" sldId="383"/>
        </pc:sldMkLst>
        <pc:spChg chg="mod">
          <ac:chgData name="Cummins, Peter" userId="3e019fb5-f2e4-456c-8856-6883cde3d59a" providerId="ADAL" clId="{23282703-A95A-420D-94F1-876F24E92BA9}" dt="2025-10-23T15:49:40.712" v="5238" actId="948"/>
          <ac:spMkLst>
            <pc:docMk/>
            <pc:sldMk cId="2613068223" sldId="383"/>
            <ac:spMk id="6" creationId="{19079859-1414-B7B0-4CFB-A3159C3606B2}"/>
          </ac:spMkLst>
        </pc:spChg>
        <pc:spChg chg="add mod">
          <ac:chgData name="Cummins, Peter" userId="3e019fb5-f2e4-456c-8856-6883cde3d59a" providerId="ADAL" clId="{23282703-A95A-420D-94F1-876F24E92BA9}" dt="2025-10-23T13:27:33.427" v="4184"/>
          <ac:spMkLst>
            <pc:docMk/>
            <pc:sldMk cId="2613068223" sldId="383"/>
            <ac:spMk id="7" creationId="{60FB9A5E-2B26-77A7-5880-7FBF71702704}"/>
          </ac:spMkLst>
        </pc:spChg>
        <pc:picChg chg="add mod">
          <ac:chgData name="Cummins, Peter" userId="3e019fb5-f2e4-456c-8856-6883cde3d59a" providerId="ADAL" clId="{23282703-A95A-420D-94F1-876F24E92BA9}" dt="2025-10-22T21:40:33.997" v="1574"/>
          <ac:picMkLst>
            <pc:docMk/>
            <pc:sldMk cId="2613068223" sldId="383"/>
            <ac:picMk id="5" creationId="{CF3E9D66-0300-8353-4392-B457968D1605}"/>
          </ac:picMkLst>
        </pc:picChg>
      </pc:sldChg>
      <pc:sldChg chg="addSp delSp modSp mod ord">
        <pc:chgData name="Cummins, Peter" userId="3e019fb5-f2e4-456c-8856-6883cde3d59a" providerId="ADAL" clId="{23282703-A95A-420D-94F1-876F24E92BA9}" dt="2025-10-23T15:58:45.117" v="5327" actId="6549"/>
        <pc:sldMkLst>
          <pc:docMk/>
          <pc:sldMk cId="4282836190" sldId="384"/>
        </pc:sldMkLst>
        <pc:spChg chg="mod">
          <ac:chgData name="Cummins, Peter" userId="3e019fb5-f2e4-456c-8856-6883cde3d59a" providerId="ADAL" clId="{23282703-A95A-420D-94F1-876F24E92BA9}" dt="2025-10-23T15:54:45.118" v="5260" actId="20577"/>
          <ac:spMkLst>
            <pc:docMk/>
            <pc:sldMk cId="4282836190" sldId="384"/>
            <ac:spMk id="2" creationId="{600BA84D-42CE-C97C-74F2-B1947C42CC7C}"/>
          </ac:spMkLst>
        </pc:spChg>
        <pc:spChg chg="add mod">
          <ac:chgData name="Cummins, Peter" userId="3e019fb5-f2e4-456c-8856-6883cde3d59a" providerId="ADAL" clId="{23282703-A95A-420D-94F1-876F24E92BA9}" dt="2025-10-23T13:27:35.910" v="4186"/>
          <ac:spMkLst>
            <pc:docMk/>
            <pc:sldMk cId="4282836190" sldId="384"/>
            <ac:spMk id="6" creationId="{8CB892DE-3BC2-6D00-15A1-6865FD4BA4C0}"/>
          </ac:spMkLst>
        </pc:spChg>
        <pc:spChg chg="mod">
          <ac:chgData name="Cummins, Peter" userId="3e019fb5-f2e4-456c-8856-6883cde3d59a" providerId="ADAL" clId="{23282703-A95A-420D-94F1-876F24E92BA9}" dt="2025-10-23T15:58:45.117" v="5327" actId="6549"/>
          <ac:spMkLst>
            <pc:docMk/>
            <pc:sldMk cId="4282836190" sldId="384"/>
            <ac:spMk id="7" creationId="{6C9247BF-F9B1-73A2-87F4-1CD6C3A8F702}"/>
          </ac:spMkLst>
        </pc:spChg>
        <pc:picChg chg="add mod">
          <ac:chgData name="Cummins, Peter" userId="3e019fb5-f2e4-456c-8856-6883cde3d59a" providerId="ADAL" clId="{23282703-A95A-420D-94F1-876F24E92BA9}" dt="2025-10-22T21:40:34.785" v="1575"/>
          <ac:picMkLst>
            <pc:docMk/>
            <pc:sldMk cId="4282836190" sldId="384"/>
            <ac:picMk id="5" creationId="{AD4EAB0C-4E22-3BA7-18A5-AD0395F12E2E}"/>
          </ac:picMkLst>
        </pc:picChg>
      </pc:sldChg>
      <pc:sldChg chg="addSp delSp modSp mod modCm">
        <pc:chgData name="Cummins, Peter" userId="3e019fb5-f2e4-456c-8856-6883cde3d59a" providerId="ADAL" clId="{23282703-A95A-420D-94F1-876F24E92BA9}" dt="2025-10-23T14:24:58.676" v="4718" actId="948"/>
        <pc:sldMkLst>
          <pc:docMk/>
          <pc:sldMk cId="310257709" sldId="385"/>
        </pc:sldMkLst>
        <pc:spChg chg="mod">
          <ac:chgData name="Cummins, Peter" userId="3e019fb5-f2e4-456c-8856-6883cde3d59a" providerId="ADAL" clId="{23282703-A95A-420D-94F1-876F24E92BA9}" dt="2025-10-23T14:24:58.676" v="4718" actId="948"/>
          <ac:spMkLst>
            <pc:docMk/>
            <pc:sldMk cId="310257709" sldId="385"/>
            <ac:spMk id="6" creationId="{5580CD8C-1B6B-1472-44ED-775AA1678134}"/>
          </ac:spMkLst>
        </pc:spChg>
        <pc:spChg chg="add mod">
          <ac:chgData name="Cummins, Peter" userId="3e019fb5-f2e4-456c-8856-6883cde3d59a" providerId="ADAL" clId="{23282703-A95A-420D-94F1-876F24E92BA9}" dt="2025-10-23T13:28:07.402" v="4208"/>
          <ac:spMkLst>
            <pc:docMk/>
            <pc:sldMk cId="310257709" sldId="385"/>
            <ac:spMk id="7" creationId="{B32E7D2D-EBAB-4CCD-F65F-3D595EE8E225}"/>
          </ac:spMkLst>
        </pc:spChg>
        <pc:picChg chg="add mod">
          <ac:chgData name="Cummins, Peter" userId="3e019fb5-f2e4-456c-8856-6883cde3d59a" providerId="ADAL" clId="{23282703-A95A-420D-94F1-876F24E92BA9}" dt="2025-10-22T21:40:35.729" v="1576"/>
          <ac:picMkLst>
            <pc:docMk/>
            <pc:sldMk cId="310257709" sldId="385"/>
            <ac:picMk id="5" creationId="{E6C785D0-5D99-EF2A-64D1-2C68D51C75A3}"/>
          </ac:picMkLst>
        </pc:picChg>
        <pc:extLst>
          <p:ext xmlns:p="http://schemas.openxmlformats.org/presentationml/2006/main" uri="{D6D511B9-2390-475A-947B-AFAB55BFBCF1}">
            <pc226:cmChg xmlns:pc226="http://schemas.microsoft.com/office/powerpoint/2022/06/main/command" chg="mod">
              <pc226:chgData name="Cummins, Peter" userId="3e019fb5-f2e4-456c-8856-6883cde3d59a" providerId="ADAL" clId="{23282703-A95A-420D-94F1-876F24E92BA9}" dt="2025-10-23T13:28:03.902" v="4206" actId="20577"/>
              <pc2:cmMkLst xmlns:pc2="http://schemas.microsoft.com/office/powerpoint/2019/9/main/command">
                <pc:docMk/>
                <pc:sldMk cId="310257709" sldId="385"/>
                <pc2:cmMk id="{6A0594F8-5BD9-4DD0-AA52-EBDDD5AA62A6}"/>
              </pc2:cmMkLst>
            </pc226:cmChg>
          </p:ext>
        </pc:extLst>
      </pc:sldChg>
      <pc:sldChg chg="addSp delSp modSp mod ord">
        <pc:chgData name="Cummins, Peter" userId="3e019fb5-f2e4-456c-8856-6883cde3d59a" providerId="ADAL" clId="{23282703-A95A-420D-94F1-876F24E92BA9}" dt="2025-10-23T14:24:40.081" v="4717" actId="948"/>
        <pc:sldMkLst>
          <pc:docMk/>
          <pc:sldMk cId="1608003657" sldId="386"/>
        </pc:sldMkLst>
        <pc:spChg chg="mod">
          <ac:chgData name="Cummins, Peter" userId="3e019fb5-f2e4-456c-8856-6883cde3d59a" providerId="ADAL" clId="{23282703-A95A-420D-94F1-876F24E92BA9}" dt="2025-10-23T14:24:40.081" v="4717" actId="948"/>
          <ac:spMkLst>
            <pc:docMk/>
            <pc:sldMk cId="1608003657" sldId="386"/>
            <ac:spMk id="6" creationId="{D1738C75-508D-76FB-098B-0385FCD90496}"/>
          </ac:spMkLst>
        </pc:spChg>
        <pc:spChg chg="add mod">
          <ac:chgData name="Cummins, Peter" userId="3e019fb5-f2e4-456c-8856-6883cde3d59a" providerId="ADAL" clId="{23282703-A95A-420D-94F1-876F24E92BA9}" dt="2025-10-23T13:28:18.655" v="4214"/>
          <ac:spMkLst>
            <pc:docMk/>
            <pc:sldMk cId="1608003657" sldId="386"/>
            <ac:spMk id="7" creationId="{B7862A3C-9FF5-F4E3-4347-4C6E6669D469}"/>
          </ac:spMkLst>
        </pc:spChg>
        <pc:picChg chg="add mod">
          <ac:chgData name="Cummins, Peter" userId="3e019fb5-f2e4-456c-8856-6883cde3d59a" providerId="ADAL" clId="{23282703-A95A-420D-94F1-876F24E92BA9}" dt="2025-10-22T21:40:36.437" v="1577"/>
          <ac:picMkLst>
            <pc:docMk/>
            <pc:sldMk cId="1608003657" sldId="386"/>
            <ac:picMk id="5" creationId="{564C383F-926E-A8CC-7E12-A067E1592A16}"/>
          </ac:picMkLst>
        </pc:picChg>
      </pc:sldChg>
      <pc:sldChg chg="addSp delSp modSp mod ord">
        <pc:chgData name="Cummins, Peter" userId="3e019fb5-f2e4-456c-8856-6883cde3d59a" providerId="ADAL" clId="{23282703-A95A-420D-94F1-876F24E92BA9}" dt="2025-10-23T19:21:40.887" v="5515" actId="20577"/>
        <pc:sldMkLst>
          <pc:docMk/>
          <pc:sldMk cId="2584432994" sldId="387"/>
        </pc:sldMkLst>
        <pc:spChg chg="add mod">
          <ac:chgData name="Cummins, Peter" userId="3e019fb5-f2e4-456c-8856-6883cde3d59a" providerId="ADAL" clId="{23282703-A95A-420D-94F1-876F24E92BA9}" dt="2025-10-23T13:28:35.381" v="4222"/>
          <ac:spMkLst>
            <pc:docMk/>
            <pc:sldMk cId="2584432994" sldId="387"/>
            <ac:spMk id="6" creationId="{02CAEA39-FB17-7309-C0B5-D8959A628FE0}"/>
          </ac:spMkLst>
        </pc:spChg>
        <pc:spChg chg="mod">
          <ac:chgData name="Cummins, Peter" userId="3e019fb5-f2e4-456c-8856-6883cde3d59a" providerId="ADAL" clId="{23282703-A95A-420D-94F1-876F24E92BA9}" dt="2025-10-23T19:21:40.887" v="5515" actId="20577"/>
          <ac:spMkLst>
            <pc:docMk/>
            <pc:sldMk cId="2584432994" sldId="387"/>
            <ac:spMk id="32" creationId="{DF6455B3-BB42-33EB-22FB-B8CF699B4750}"/>
          </ac:spMkLst>
        </pc:spChg>
        <pc:picChg chg="add mod">
          <ac:chgData name="Cummins, Peter" userId="3e019fb5-f2e4-456c-8856-6883cde3d59a" providerId="ADAL" clId="{23282703-A95A-420D-94F1-876F24E92BA9}" dt="2025-10-22T21:40:38.094" v="1579"/>
          <ac:picMkLst>
            <pc:docMk/>
            <pc:sldMk cId="2584432994" sldId="387"/>
            <ac:picMk id="5" creationId="{1532C40A-B9B8-D58A-2CBE-3A90C6ADC071}"/>
          </ac:picMkLst>
        </pc:picChg>
      </pc:sldChg>
      <pc:sldChg chg="addSp delSp modSp mod">
        <pc:chgData name="Cummins, Peter" userId="3e019fb5-f2e4-456c-8856-6883cde3d59a" providerId="ADAL" clId="{23282703-A95A-420D-94F1-876F24E92BA9}" dt="2025-10-23T15:44:22.417" v="5223" actId="20577"/>
        <pc:sldMkLst>
          <pc:docMk/>
          <pc:sldMk cId="5639202" sldId="388"/>
        </pc:sldMkLst>
        <pc:spChg chg="mod">
          <ac:chgData name="Cummins, Peter" userId="3e019fb5-f2e4-456c-8856-6883cde3d59a" providerId="ADAL" clId="{23282703-A95A-420D-94F1-876F24E92BA9}" dt="2025-10-23T15:44:03.433" v="5213" actId="20577"/>
          <ac:spMkLst>
            <pc:docMk/>
            <pc:sldMk cId="5639202" sldId="388"/>
            <ac:spMk id="2" creationId="{B8FF347F-1F46-A0B4-D9E1-E410B1678BE2}"/>
          </ac:spMkLst>
        </pc:spChg>
        <pc:spChg chg="mod">
          <ac:chgData name="Cummins, Peter" userId="3e019fb5-f2e4-456c-8856-6883cde3d59a" providerId="ADAL" clId="{23282703-A95A-420D-94F1-876F24E92BA9}" dt="2025-10-23T15:44:22.417" v="5223" actId="20577"/>
          <ac:spMkLst>
            <pc:docMk/>
            <pc:sldMk cId="5639202" sldId="388"/>
            <ac:spMk id="6" creationId="{6CC4938A-33BB-955B-C18F-30E5148095CA}"/>
          </ac:spMkLst>
        </pc:spChg>
        <pc:spChg chg="add mod">
          <ac:chgData name="Cummins, Peter" userId="3e019fb5-f2e4-456c-8856-6883cde3d59a" providerId="ADAL" clId="{23282703-A95A-420D-94F1-876F24E92BA9}" dt="2025-10-23T13:27:24.226" v="4176"/>
          <ac:spMkLst>
            <pc:docMk/>
            <pc:sldMk cId="5639202" sldId="388"/>
            <ac:spMk id="7" creationId="{D327A503-A181-0AC9-9B0E-2A478ACE0B42}"/>
          </ac:spMkLst>
        </pc:spChg>
        <pc:picChg chg="add mod">
          <ac:chgData name="Cummins, Peter" userId="3e019fb5-f2e4-456c-8856-6883cde3d59a" providerId="ADAL" clId="{23282703-A95A-420D-94F1-876F24E92BA9}" dt="2025-10-22T21:40:20.112" v="1563" actId="1076"/>
          <ac:picMkLst>
            <pc:docMk/>
            <pc:sldMk cId="5639202" sldId="388"/>
            <ac:picMk id="8" creationId="{C8184EA3-D086-2CE8-CB73-4FC79C929561}"/>
          </ac:picMkLst>
        </pc:picChg>
      </pc:sldChg>
      <pc:sldChg chg="addSp delSp modSp mod ord">
        <pc:chgData name="Cummins, Peter" userId="3e019fb5-f2e4-456c-8856-6883cde3d59a" providerId="ADAL" clId="{23282703-A95A-420D-94F1-876F24E92BA9}" dt="2025-10-23T13:54:59.336" v="4374" actId="20577"/>
        <pc:sldMkLst>
          <pc:docMk/>
          <pc:sldMk cId="2646508607" sldId="389"/>
        </pc:sldMkLst>
        <pc:spChg chg="add mod">
          <ac:chgData name="Cummins, Peter" userId="3e019fb5-f2e4-456c-8856-6883cde3d59a" providerId="ADAL" clId="{23282703-A95A-420D-94F1-876F24E92BA9}" dt="2025-10-23T13:27:31.068" v="4182"/>
          <ac:spMkLst>
            <pc:docMk/>
            <pc:sldMk cId="2646508607" sldId="389"/>
            <ac:spMk id="5" creationId="{B0AF400A-B20C-792D-D741-C62AC95EAAC9}"/>
          </ac:spMkLst>
        </pc:spChg>
        <pc:spChg chg="mod">
          <ac:chgData name="Cummins, Peter" userId="3e019fb5-f2e4-456c-8856-6883cde3d59a" providerId="ADAL" clId="{23282703-A95A-420D-94F1-876F24E92BA9}" dt="2025-10-23T13:54:59.336" v="4374" actId="20577"/>
          <ac:spMkLst>
            <pc:docMk/>
            <pc:sldMk cId="2646508607" sldId="389"/>
            <ac:spMk id="6" creationId="{B8CA1BA3-A3D9-745A-E540-4BE19F8B3E53}"/>
          </ac:spMkLst>
        </pc:spChg>
        <pc:picChg chg="add mod">
          <ac:chgData name="Cummins, Peter" userId="3e019fb5-f2e4-456c-8856-6883cde3d59a" providerId="ADAL" clId="{23282703-A95A-420D-94F1-876F24E92BA9}" dt="2025-10-22T21:40:23.354" v="1564"/>
          <ac:picMkLst>
            <pc:docMk/>
            <pc:sldMk cId="2646508607" sldId="389"/>
            <ac:picMk id="7" creationId="{F733E9A8-C031-FC91-D44F-8BEFA3E3AE74}"/>
          </ac:picMkLst>
        </pc:picChg>
      </pc:sldChg>
      <pc:sldChg chg="addSp delSp modSp mod ord">
        <pc:chgData name="Cummins, Peter" userId="3e019fb5-f2e4-456c-8856-6883cde3d59a" providerId="ADAL" clId="{23282703-A95A-420D-94F1-876F24E92BA9}" dt="2025-10-23T20:22:45.909" v="7259" actId="1035"/>
        <pc:sldMkLst>
          <pc:docMk/>
          <pc:sldMk cId="3437604264" sldId="390"/>
        </pc:sldMkLst>
        <pc:spChg chg="mod">
          <ac:chgData name="Cummins, Peter" userId="3e019fb5-f2e4-456c-8856-6883cde3d59a" providerId="ADAL" clId="{23282703-A95A-420D-94F1-876F24E92BA9}" dt="2025-10-22T21:50:12.121" v="1640" actId="20577"/>
          <ac:spMkLst>
            <pc:docMk/>
            <pc:sldMk cId="3437604264" sldId="390"/>
            <ac:spMk id="2" creationId="{9171CCB8-8F4E-5B67-A5C8-A9149080AFDF}"/>
          </ac:spMkLst>
        </pc:spChg>
        <pc:spChg chg="mod">
          <ac:chgData name="Cummins, Peter" userId="3e019fb5-f2e4-456c-8856-6883cde3d59a" providerId="ADAL" clId="{23282703-A95A-420D-94F1-876F24E92BA9}" dt="2025-10-23T20:22:45.909" v="7259" actId="1035"/>
          <ac:spMkLst>
            <pc:docMk/>
            <pc:sldMk cId="3437604264" sldId="390"/>
            <ac:spMk id="6" creationId="{25C07E58-ABB2-662B-ACEA-DC31419FBBE1}"/>
          </ac:spMkLst>
        </pc:spChg>
        <pc:spChg chg="add mod">
          <ac:chgData name="Cummins, Peter" userId="3e019fb5-f2e4-456c-8856-6883cde3d59a" providerId="ADAL" clId="{23282703-A95A-420D-94F1-876F24E92BA9}" dt="2025-10-23T13:27:26.492" v="4178"/>
          <ac:spMkLst>
            <pc:docMk/>
            <pc:sldMk cId="3437604264" sldId="390"/>
            <ac:spMk id="7" creationId="{5A03CE51-CA6B-01F0-821A-ECCB06FCAF32}"/>
          </ac:spMkLst>
        </pc:spChg>
        <pc:picChg chg="add mod">
          <ac:chgData name="Cummins, Peter" userId="3e019fb5-f2e4-456c-8856-6883cde3d59a" providerId="ADAL" clId="{23282703-A95A-420D-94F1-876F24E92BA9}" dt="2025-10-22T21:40:24.230" v="1565"/>
          <ac:picMkLst>
            <pc:docMk/>
            <pc:sldMk cId="3437604264" sldId="390"/>
            <ac:picMk id="5" creationId="{D69C7500-754B-ECCD-41C0-C20147DAEB49}"/>
          </ac:picMkLst>
        </pc:picChg>
      </pc:sldChg>
      <pc:sldChg chg="addSp delSp modSp add mod ord">
        <pc:chgData name="Cummins, Peter" userId="3e019fb5-f2e4-456c-8856-6883cde3d59a" providerId="ADAL" clId="{23282703-A95A-420D-94F1-876F24E92BA9}" dt="2025-10-23T14:20:49.676" v="4666" actId="6549"/>
        <pc:sldMkLst>
          <pc:docMk/>
          <pc:sldMk cId="3202117772" sldId="391"/>
        </pc:sldMkLst>
        <pc:spChg chg="mod">
          <ac:chgData name="Cummins, Peter" userId="3e019fb5-f2e4-456c-8856-6883cde3d59a" providerId="ADAL" clId="{23282703-A95A-420D-94F1-876F24E92BA9}" dt="2025-10-22T22:51:31.491" v="2543" actId="6549"/>
          <ac:spMkLst>
            <pc:docMk/>
            <pc:sldMk cId="3202117772" sldId="391"/>
            <ac:spMk id="2" creationId="{6FBD6A46-DF22-4EC5-513C-FA44B2335F18}"/>
          </ac:spMkLst>
        </pc:spChg>
        <pc:spChg chg="add mod">
          <ac:chgData name="Cummins, Peter" userId="3e019fb5-f2e4-456c-8856-6883cde3d59a" providerId="ADAL" clId="{23282703-A95A-420D-94F1-876F24E92BA9}" dt="2025-10-23T13:27:55.247" v="4202"/>
          <ac:spMkLst>
            <pc:docMk/>
            <pc:sldMk cId="3202117772" sldId="391"/>
            <ac:spMk id="3" creationId="{49D41BB9-26DD-C6FA-6745-A08ABC5B8A37}"/>
          </ac:spMkLst>
        </pc:spChg>
        <pc:spChg chg="mod">
          <ac:chgData name="Cummins, Peter" userId="3e019fb5-f2e4-456c-8856-6883cde3d59a" providerId="ADAL" clId="{23282703-A95A-420D-94F1-876F24E92BA9}" dt="2025-10-23T14:20:49.676" v="4666" actId="6549"/>
          <ac:spMkLst>
            <pc:docMk/>
            <pc:sldMk cId="3202117772" sldId="391"/>
            <ac:spMk id="5" creationId="{A9EC1B6D-E8A8-BAB1-1252-B8D16BE23384}"/>
          </ac:spMkLst>
        </pc:spChg>
        <pc:spChg chg="add mod">
          <ac:chgData name="Cummins, Peter" userId="3e019fb5-f2e4-456c-8856-6883cde3d59a" providerId="ADAL" clId="{23282703-A95A-420D-94F1-876F24E92BA9}" dt="2025-10-22T19:08:35.493" v="386"/>
          <ac:spMkLst>
            <pc:docMk/>
            <pc:sldMk cId="3202117772" sldId="391"/>
            <ac:spMk id="8" creationId="{8E84AEBC-646F-1FFB-0974-AC6A5CC24D6B}"/>
          </ac:spMkLst>
        </pc:spChg>
        <pc:spChg chg="mod">
          <ac:chgData name="Cummins, Peter" userId="3e019fb5-f2e4-456c-8856-6883cde3d59a" providerId="ADAL" clId="{23282703-A95A-420D-94F1-876F24E92BA9}" dt="2025-10-22T19:15:13.526" v="516" actId="1036"/>
          <ac:spMkLst>
            <pc:docMk/>
            <pc:sldMk cId="3202117772" sldId="391"/>
            <ac:spMk id="11" creationId="{1EB21BB8-5825-8C2B-ADB0-C0A809293D9D}"/>
          </ac:spMkLst>
        </pc:spChg>
        <pc:spChg chg="add mod">
          <ac:chgData name="Cummins, Peter" userId="3e019fb5-f2e4-456c-8856-6883cde3d59a" providerId="ADAL" clId="{23282703-A95A-420D-94F1-876F24E92BA9}" dt="2025-10-22T19:01:00.842" v="114" actId="1076"/>
          <ac:spMkLst>
            <pc:docMk/>
            <pc:sldMk cId="3202117772" sldId="391"/>
            <ac:spMk id="19" creationId="{EF3B7736-7E83-88C9-3D11-5AE4490F3FAD}"/>
          </ac:spMkLst>
        </pc:spChg>
        <pc:spChg chg="add mod">
          <ac:chgData name="Cummins, Peter" userId="3e019fb5-f2e4-456c-8856-6883cde3d59a" providerId="ADAL" clId="{23282703-A95A-420D-94F1-876F24E92BA9}" dt="2025-10-22T19:08:50.225" v="390"/>
          <ac:spMkLst>
            <pc:docMk/>
            <pc:sldMk cId="3202117772" sldId="391"/>
            <ac:spMk id="20" creationId="{F442D4B3-6572-8031-AD82-0C242C8337F3}"/>
          </ac:spMkLst>
        </pc:spChg>
        <pc:spChg chg="mod">
          <ac:chgData name="Cummins, Peter" userId="3e019fb5-f2e4-456c-8856-6883cde3d59a" providerId="ADAL" clId="{23282703-A95A-420D-94F1-876F24E92BA9}" dt="2025-10-22T19:01:23.638" v="123" actId="1076"/>
          <ac:spMkLst>
            <pc:docMk/>
            <pc:sldMk cId="3202117772" sldId="391"/>
            <ac:spMk id="22" creationId="{D7E40B6E-624C-F567-9402-3F75EB6E54C6}"/>
          </ac:spMkLst>
        </pc:spChg>
        <pc:spChg chg="add mod">
          <ac:chgData name="Cummins, Peter" userId="3e019fb5-f2e4-456c-8856-6883cde3d59a" providerId="ADAL" clId="{23282703-A95A-420D-94F1-876F24E92BA9}" dt="2025-10-22T19:09:51.175" v="423" actId="20577"/>
          <ac:spMkLst>
            <pc:docMk/>
            <pc:sldMk cId="3202117772" sldId="391"/>
            <ac:spMk id="23" creationId="{23D3EFB8-9B64-37EF-237B-2B33FA0868FF}"/>
          </ac:spMkLst>
        </pc:spChg>
        <pc:spChg chg="mod">
          <ac:chgData name="Cummins, Peter" userId="3e019fb5-f2e4-456c-8856-6883cde3d59a" providerId="ADAL" clId="{23282703-A95A-420D-94F1-876F24E92BA9}" dt="2025-10-22T19:15:49.160" v="525" actId="1036"/>
          <ac:spMkLst>
            <pc:docMk/>
            <pc:sldMk cId="3202117772" sldId="391"/>
            <ac:spMk id="25" creationId="{E06FBA52-F6D0-0281-B735-0B375FDCF4B4}"/>
          </ac:spMkLst>
        </pc:spChg>
        <pc:spChg chg="mod">
          <ac:chgData name="Cummins, Peter" userId="3e019fb5-f2e4-456c-8856-6883cde3d59a" providerId="ADAL" clId="{23282703-A95A-420D-94F1-876F24E92BA9}" dt="2025-10-22T19:02:21.795" v="214" actId="1035"/>
          <ac:spMkLst>
            <pc:docMk/>
            <pc:sldMk cId="3202117772" sldId="391"/>
            <ac:spMk id="26" creationId="{9F8F53C9-50CD-8008-BD9F-262D46ED30F8}"/>
          </ac:spMkLst>
        </pc:spChg>
        <pc:spChg chg="add mod">
          <ac:chgData name="Cummins, Peter" userId="3e019fb5-f2e4-456c-8856-6883cde3d59a" providerId="ADAL" clId="{23282703-A95A-420D-94F1-876F24E92BA9}" dt="2025-10-22T19:11:58.131" v="466" actId="6549"/>
          <ac:spMkLst>
            <pc:docMk/>
            <pc:sldMk cId="3202117772" sldId="391"/>
            <ac:spMk id="27" creationId="{31A45454-0BD2-61AB-08BB-1823AD0CA48D}"/>
          </ac:spMkLst>
        </pc:spChg>
        <pc:spChg chg="add mod">
          <ac:chgData name="Cummins, Peter" userId="3e019fb5-f2e4-456c-8856-6883cde3d59a" providerId="ADAL" clId="{23282703-A95A-420D-94F1-876F24E92BA9}" dt="2025-10-22T19:02:21.795" v="214" actId="1035"/>
          <ac:spMkLst>
            <pc:docMk/>
            <pc:sldMk cId="3202117772" sldId="391"/>
            <ac:spMk id="29" creationId="{0925C83C-E560-CF46-965A-5B539C1AEF55}"/>
          </ac:spMkLst>
        </pc:spChg>
        <pc:spChg chg="add mod">
          <ac:chgData name="Cummins, Peter" userId="3e019fb5-f2e4-456c-8856-6883cde3d59a" providerId="ADAL" clId="{23282703-A95A-420D-94F1-876F24E92BA9}" dt="2025-10-22T19:02:21.795" v="214" actId="1035"/>
          <ac:spMkLst>
            <pc:docMk/>
            <pc:sldMk cId="3202117772" sldId="391"/>
            <ac:spMk id="31" creationId="{02E681A7-934F-ADB6-436D-9F50A4842BB8}"/>
          </ac:spMkLst>
        </pc:spChg>
        <pc:spChg chg="add mod">
          <ac:chgData name="Cummins, Peter" userId="3e019fb5-f2e4-456c-8856-6883cde3d59a" providerId="ADAL" clId="{23282703-A95A-420D-94F1-876F24E92BA9}" dt="2025-10-23T14:12:58.933" v="4602" actId="14100"/>
          <ac:spMkLst>
            <pc:docMk/>
            <pc:sldMk cId="3202117772" sldId="391"/>
            <ac:spMk id="35" creationId="{15E3837B-8E14-7955-4F03-DA35A239E022}"/>
          </ac:spMkLst>
        </pc:spChg>
        <pc:spChg chg="mod">
          <ac:chgData name="Cummins, Peter" userId="3e019fb5-f2e4-456c-8856-6883cde3d59a" providerId="ADAL" clId="{23282703-A95A-420D-94F1-876F24E92BA9}" dt="2025-10-22T19:15:49.160" v="525" actId="1036"/>
          <ac:spMkLst>
            <pc:docMk/>
            <pc:sldMk cId="3202117772" sldId="391"/>
            <ac:spMk id="39" creationId="{2F1FC096-F7B2-DD39-C112-C9CD551E2644}"/>
          </ac:spMkLst>
        </pc:spChg>
        <pc:spChg chg="mod">
          <ac:chgData name="Cummins, Peter" userId="3e019fb5-f2e4-456c-8856-6883cde3d59a" providerId="ADAL" clId="{23282703-A95A-420D-94F1-876F24E92BA9}" dt="2025-10-22T19:15:49.160" v="525" actId="1036"/>
          <ac:spMkLst>
            <pc:docMk/>
            <pc:sldMk cId="3202117772" sldId="391"/>
            <ac:spMk id="42" creationId="{57E98456-B810-F76E-6434-D714DB1A10FD}"/>
          </ac:spMkLst>
        </pc:spChg>
        <pc:spChg chg="mod">
          <ac:chgData name="Cummins, Peter" userId="3e019fb5-f2e4-456c-8856-6883cde3d59a" providerId="ADAL" clId="{23282703-A95A-420D-94F1-876F24E92BA9}" dt="2025-10-22T19:15:49.160" v="525" actId="1036"/>
          <ac:spMkLst>
            <pc:docMk/>
            <pc:sldMk cId="3202117772" sldId="391"/>
            <ac:spMk id="49" creationId="{8F8449A7-B11B-D7B4-F7F4-3B30CD9EE0C9}"/>
          </ac:spMkLst>
        </pc:spChg>
        <pc:spChg chg="add">
          <ac:chgData name="Cummins, Peter" userId="3e019fb5-f2e4-456c-8856-6883cde3d59a" providerId="ADAL" clId="{23282703-A95A-420D-94F1-876F24E92BA9}" dt="2025-10-22T19:00:17.425" v="69" actId="11529"/>
          <ac:spMkLst>
            <pc:docMk/>
            <pc:sldMk cId="3202117772" sldId="391"/>
            <ac:spMk id="62" creationId="{F47FB76B-4175-0809-491B-1AC5FD5269BF}"/>
          </ac:spMkLst>
        </pc:spChg>
        <pc:spChg chg="add mod">
          <ac:chgData name="Cummins, Peter" userId="3e019fb5-f2e4-456c-8856-6883cde3d59a" providerId="ADAL" clId="{23282703-A95A-420D-94F1-876F24E92BA9}" dt="2025-10-22T19:15:49.160" v="525" actId="1036"/>
          <ac:spMkLst>
            <pc:docMk/>
            <pc:sldMk cId="3202117772" sldId="391"/>
            <ac:spMk id="65" creationId="{06E223B8-A529-2E41-E942-56080470283A}"/>
          </ac:spMkLst>
        </pc:spChg>
        <pc:spChg chg="add mod">
          <ac:chgData name="Cummins, Peter" userId="3e019fb5-f2e4-456c-8856-6883cde3d59a" providerId="ADAL" clId="{23282703-A95A-420D-94F1-876F24E92BA9}" dt="2025-10-22T19:15:49.160" v="525" actId="1036"/>
          <ac:spMkLst>
            <pc:docMk/>
            <pc:sldMk cId="3202117772" sldId="391"/>
            <ac:spMk id="67" creationId="{A0E9C05F-C8E5-E79B-E50C-ACEBC9E29586}"/>
          </ac:spMkLst>
        </pc:spChg>
        <pc:spChg chg="add mod">
          <ac:chgData name="Cummins, Peter" userId="3e019fb5-f2e4-456c-8856-6883cde3d59a" providerId="ADAL" clId="{23282703-A95A-420D-94F1-876F24E92BA9}" dt="2025-10-22T19:15:49.160" v="525" actId="1036"/>
          <ac:spMkLst>
            <pc:docMk/>
            <pc:sldMk cId="3202117772" sldId="391"/>
            <ac:spMk id="69" creationId="{1DC22095-D296-1F23-4E18-8B2A6C0DFB97}"/>
          </ac:spMkLst>
        </pc:spChg>
        <pc:spChg chg="add mod">
          <ac:chgData name="Cummins, Peter" userId="3e019fb5-f2e4-456c-8856-6883cde3d59a" providerId="ADAL" clId="{23282703-A95A-420D-94F1-876F24E92BA9}" dt="2025-10-22T19:15:49.160" v="525" actId="1036"/>
          <ac:spMkLst>
            <pc:docMk/>
            <pc:sldMk cId="3202117772" sldId="391"/>
            <ac:spMk id="71" creationId="{55634B79-83F6-C5B3-89BE-1EBA2FC636AB}"/>
          </ac:spMkLst>
        </pc:spChg>
        <pc:spChg chg="add mod">
          <ac:chgData name="Cummins, Peter" userId="3e019fb5-f2e4-456c-8856-6883cde3d59a" providerId="ADAL" clId="{23282703-A95A-420D-94F1-876F24E92BA9}" dt="2025-10-22T19:15:49.160" v="525" actId="1036"/>
          <ac:spMkLst>
            <pc:docMk/>
            <pc:sldMk cId="3202117772" sldId="391"/>
            <ac:spMk id="73" creationId="{BD89C9A7-92E5-775B-83D1-101EBA4ED834}"/>
          </ac:spMkLst>
        </pc:spChg>
        <pc:spChg chg="add mod">
          <ac:chgData name="Cummins, Peter" userId="3e019fb5-f2e4-456c-8856-6883cde3d59a" providerId="ADAL" clId="{23282703-A95A-420D-94F1-876F24E92BA9}" dt="2025-10-22T19:07:01.532" v="366" actId="1076"/>
          <ac:spMkLst>
            <pc:docMk/>
            <pc:sldMk cId="3202117772" sldId="391"/>
            <ac:spMk id="75" creationId="{D5D175F4-780B-A8F9-A728-BB6747B20013}"/>
          </ac:spMkLst>
        </pc:spChg>
        <pc:picChg chg="add mod">
          <ac:chgData name="Cummins, Peter" userId="3e019fb5-f2e4-456c-8856-6883cde3d59a" providerId="ADAL" clId="{23282703-A95A-420D-94F1-876F24E92BA9}" dt="2025-10-22T21:40:29.153" v="1570"/>
          <ac:picMkLst>
            <pc:docMk/>
            <pc:sldMk cId="3202117772" sldId="391"/>
            <ac:picMk id="76" creationId="{F5289F55-B1C7-5A56-872A-F4C371C3F8A9}"/>
          </ac:picMkLst>
        </pc:picChg>
        <pc:cxnChg chg="mod">
          <ac:chgData name="Cummins, Peter" userId="3e019fb5-f2e4-456c-8856-6883cde3d59a" providerId="ADAL" clId="{23282703-A95A-420D-94F1-876F24E92BA9}" dt="2025-10-23T14:12:28.338" v="4589" actId="14100"/>
          <ac:cxnSpMkLst>
            <pc:docMk/>
            <pc:sldMk cId="3202117772" sldId="391"/>
            <ac:cxnSpMk id="12" creationId="{E5AFD1B1-F1DA-DA34-A5FC-F3EF698B77EE}"/>
          </ac:cxnSpMkLst>
        </pc:cxnChg>
        <pc:cxnChg chg="mod">
          <ac:chgData name="Cummins, Peter" userId="3e019fb5-f2e4-456c-8856-6883cde3d59a" providerId="ADAL" clId="{23282703-A95A-420D-94F1-876F24E92BA9}" dt="2025-10-22T19:03:19.398" v="310" actId="14100"/>
          <ac:cxnSpMkLst>
            <pc:docMk/>
            <pc:sldMk cId="3202117772" sldId="391"/>
            <ac:cxnSpMk id="18" creationId="{796D8A78-CFFF-EC19-59EA-C1C1AFE41395}"/>
          </ac:cxnSpMkLst>
        </pc:cxnChg>
        <pc:cxnChg chg="mod">
          <ac:chgData name="Cummins, Peter" userId="3e019fb5-f2e4-456c-8856-6883cde3d59a" providerId="ADAL" clId="{23282703-A95A-420D-94F1-876F24E92BA9}" dt="2025-10-22T19:03:19.398" v="310" actId="14100"/>
          <ac:cxnSpMkLst>
            <pc:docMk/>
            <pc:sldMk cId="3202117772" sldId="391"/>
            <ac:cxnSpMk id="21" creationId="{F8388674-134E-3EB8-CB8D-C44989310AD1}"/>
          </ac:cxnSpMkLst>
        </pc:cxnChg>
        <pc:cxnChg chg="mod">
          <ac:chgData name="Cummins, Peter" userId="3e019fb5-f2e4-456c-8856-6883cde3d59a" providerId="ADAL" clId="{23282703-A95A-420D-94F1-876F24E92BA9}" dt="2025-10-22T19:03:19.398" v="310" actId="14100"/>
          <ac:cxnSpMkLst>
            <pc:docMk/>
            <pc:sldMk cId="3202117772" sldId="391"/>
            <ac:cxnSpMk id="24" creationId="{6CBAA2B0-28AB-DF65-6641-F44BED004F19}"/>
          </ac:cxnSpMkLst>
        </pc:cxnChg>
        <pc:cxnChg chg="mod">
          <ac:chgData name="Cummins, Peter" userId="3e019fb5-f2e4-456c-8856-6883cde3d59a" providerId="ADAL" clId="{23282703-A95A-420D-94F1-876F24E92BA9}" dt="2025-10-22T19:03:19.398" v="310" actId="14100"/>
          <ac:cxnSpMkLst>
            <pc:docMk/>
            <pc:sldMk cId="3202117772" sldId="391"/>
            <ac:cxnSpMk id="28" creationId="{06116486-77A7-54E2-C9B6-837689028E48}"/>
          </ac:cxnSpMkLst>
        </pc:cxnChg>
        <pc:cxnChg chg="mod">
          <ac:chgData name="Cummins, Peter" userId="3e019fb5-f2e4-456c-8856-6883cde3d59a" providerId="ADAL" clId="{23282703-A95A-420D-94F1-876F24E92BA9}" dt="2025-10-22T19:03:19.398" v="310" actId="14100"/>
          <ac:cxnSpMkLst>
            <pc:docMk/>
            <pc:sldMk cId="3202117772" sldId="391"/>
            <ac:cxnSpMk id="30" creationId="{F10F9A89-B866-FFA7-CE28-7201AC60E38C}"/>
          </ac:cxnSpMkLst>
        </pc:cxnChg>
        <pc:cxnChg chg="add mod">
          <ac:chgData name="Cummins, Peter" userId="3e019fb5-f2e4-456c-8856-6883cde3d59a" providerId="ADAL" clId="{23282703-A95A-420D-94F1-876F24E92BA9}" dt="2025-10-23T14:12:18.454" v="4576" actId="14100"/>
          <ac:cxnSpMkLst>
            <pc:docMk/>
            <pc:sldMk cId="3202117772" sldId="391"/>
            <ac:cxnSpMk id="63" creationId="{9499052B-1090-C49A-21F5-A5B3555C9FF0}"/>
          </ac:cxnSpMkLst>
        </pc:cxnChg>
        <pc:cxnChg chg="add mod">
          <ac:chgData name="Cummins, Peter" userId="3e019fb5-f2e4-456c-8856-6883cde3d59a" providerId="ADAL" clId="{23282703-A95A-420D-94F1-876F24E92BA9}" dt="2025-10-22T19:07:01.532" v="366" actId="1076"/>
          <ac:cxnSpMkLst>
            <pc:docMk/>
            <pc:sldMk cId="3202117772" sldId="391"/>
            <ac:cxnSpMk id="64" creationId="{12BC74C0-4348-BAC6-1BD6-35BA9AE8C6EC}"/>
          </ac:cxnSpMkLst>
        </pc:cxnChg>
        <pc:cxnChg chg="add mod">
          <ac:chgData name="Cummins, Peter" userId="3e019fb5-f2e4-456c-8856-6883cde3d59a" providerId="ADAL" clId="{23282703-A95A-420D-94F1-876F24E92BA9}" dt="2025-10-22T19:07:01.532" v="366" actId="1076"/>
          <ac:cxnSpMkLst>
            <pc:docMk/>
            <pc:sldMk cId="3202117772" sldId="391"/>
            <ac:cxnSpMk id="72" creationId="{7ED80367-4F5F-C49A-8585-6E2E557CC7B5}"/>
          </ac:cxnSpMkLst>
        </pc:cxnChg>
        <pc:cxnChg chg="add mod">
          <ac:chgData name="Cummins, Peter" userId="3e019fb5-f2e4-456c-8856-6883cde3d59a" providerId="ADAL" clId="{23282703-A95A-420D-94F1-876F24E92BA9}" dt="2025-10-22T19:07:01.532" v="366" actId="1076"/>
          <ac:cxnSpMkLst>
            <pc:docMk/>
            <pc:sldMk cId="3202117772" sldId="391"/>
            <ac:cxnSpMk id="74" creationId="{81C39BC2-A986-0FD4-BB08-89EB5E4F5FFC}"/>
          </ac:cxnSpMkLst>
        </pc:cxnChg>
      </pc:sldChg>
      <pc:sldChg chg="addSp delSp modSp add mod ord">
        <pc:chgData name="Cummins, Peter" userId="3e019fb5-f2e4-456c-8856-6883cde3d59a" providerId="ADAL" clId="{23282703-A95A-420D-94F1-876F24E92BA9}" dt="2025-10-23T14:22:29.632" v="4712" actId="20577"/>
        <pc:sldMkLst>
          <pc:docMk/>
          <pc:sldMk cId="27383301" sldId="392"/>
        </pc:sldMkLst>
        <pc:spChg chg="mod">
          <ac:chgData name="Cummins, Peter" userId="3e019fb5-f2e4-456c-8856-6883cde3d59a" providerId="ADAL" clId="{23282703-A95A-420D-94F1-876F24E92BA9}" dt="2025-10-23T00:09:24.380" v="4071" actId="6549"/>
          <ac:spMkLst>
            <pc:docMk/>
            <pc:sldMk cId="27383301" sldId="392"/>
            <ac:spMk id="2" creationId="{CB7DEDFB-0B55-8E3E-FC5E-0B57D4C7F5D2}"/>
          </ac:spMkLst>
        </pc:spChg>
        <pc:spChg chg="add mod">
          <ac:chgData name="Cummins, Peter" userId="3e019fb5-f2e4-456c-8856-6883cde3d59a" providerId="ADAL" clId="{23282703-A95A-420D-94F1-876F24E92BA9}" dt="2025-10-23T13:28:52.037" v="4234"/>
          <ac:spMkLst>
            <pc:docMk/>
            <pc:sldMk cId="27383301" sldId="392"/>
            <ac:spMk id="4" creationId="{643260D8-0C85-B0B0-99D3-74A42DA93BF7}"/>
          </ac:spMkLst>
        </pc:spChg>
        <pc:spChg chg="mod">
          <ac:chgData name="Cummins, Peter" userId="3e019fb5-f2e4-456c-8856-6883cde3d59a" providerId="ADAL" clId="{23282703-A95A-420D-94F1-876F24E92BA9}" dt="2025-10-22T19:20:48.066" v="606"/>
          <ac:spMkLst>
            <pc:docMk/>
            <pc:sldMk cId="27383301" sldId="392"/>
            <ac:spMk id="9" creationId="{D2C0723D-BC63-A0B6-39B0-D43135DD1203}"/>
          </ac:spMkLst>
        </pc:spChg>
        <pc:spChg chg="mod">
          <ac:chgData name="Cummins, Peter" userId="3e019fb5-f2e4-456c-8856-6883cde3d59a" providerId="ADAL" clId="{23282703-A95A-420D-94F1-876F24E92BA9}" dt="2025-10-22T19:20:48.066" v="606"/>
          <ac:spMkLst>
            <pc:docMk/>
            <pc:sldMk cId="27383301" sldId="392"/>
            <ac:spMk id="11" creationId="{1B04D07A-F988-FB55-347C-4E1AA8EBE695}"/>
          </ac:spMkLst>
        </pc:spChg>
        <pc:spChg chg="mod">
          <ac:chgData name="Cummins, Peter" userId="3e019fb5-f2e4-456c-8856-6883cde3d59a" providerId="ADAL" clId="{23282703-A95A-420D-94F1-876F24E92BA9}" dt="2025-10-22T19:20:48.066" v="606"/>
          <ac:spMkLst>
            <pc:docMk/>
            <pc:sldMk cId="27383301" sldId="392"/>
            <ac:spMk id="12" creationId="{94C5DA84-155E-15AF-FB91-C792E9F380CB}"/>
          </ac:spMkLst>
        </pc:spChg>
        <pc:spChg chg="mod">
          <ac:chgData name="Cummins, Peter" userId="3e019fb5-f2e4-456c-8856-6883cde3d59a" providerId="ADAL" clId="{23282703-A95A-420D-94F1-876F24E92BA9}" dt="2025-10-22T19:20:48.066" v="606"/>
          <ac:spMkLst>
            <pc:docMk/>
            <pc:sldMk cId="27383301" sldId="392"/>
            <ac:spMk id="13" creationId="{4247CAE3-7784-758E-BDBF-656DEFBB45BB}"/>
          </ac:spMkLst>
        </pc:spChg>
        <pc:spChg chg="mod">
          <ac:chgData name="Cummins, Peter" userId="3e019fb5-f2e4-456c-8856-6883cde3d59a" providerId="ADAL" clId="{23282703-A95A-420D-94F1-876F24E92BA9}" dt="2025-10-22T19:20:48.066" v="606"/>
          <ac:spMkLst>
            <pc:docMk/>
            <pc:sldMk cId="27383301" sldId="392"/>
            <ac:spMk id="14" creationId="{88A3253A-3A2D-1419-46E8-63FEDC332A94}"/>
          </ac:spMkLst>
        </pc:spChg>
        <pc:spChg chg="mod">
          <ac:chgData name="Cummins, Peter" userId="3e019fb5-f2e4-456c-8856-6883cde3d59a" providerId="ADAL" clId="{23282703-A95A-420D-94F1-876F24E92BA9}" dt="2025-10-22T19:20:48.066" v="606"/>
          <ac:spMkLst>
            <pc:docMk/>
            <pc:sldMk cId="27383301" sldId="392"/>
            <ac:spMk id="15" creationId="{2B0731B0-C6EE-8A46-3252-E7AA8AF9C13A}"/>
          </ac:spMkLst>
        </pc:spChg>
        <pc:spChg chg="mod">
          <ac:chgData name="Cummins, Peter" userId="3e019fb5-f2e4-456c-8856-6883cde3d59a" providerId="ADAL" clId="{23282703-A95A-420D-94F1-876F24E92BA9}" dt="2025-10-22T19:20:48.066" v="606"/>
          <ac:spMkLst>
            <pc:docMk/>
            <pc:sldMk cId="27383301" sldId="392"/>
            <ac:spMk id="16" creationId="{A39995D9-2301-FAAB-9031-F4829D5303C1}"/>
          </ac:spMkLst>
        </pc:spChg>
        <pc:spChg chg="mod">
          <ac:chgData name="Cummins, Peter" userId="3e019fb5-f2e4-456c-8856-6883cde3d59a" providerId="ADAL" clId="{23282703-A95A-420D-94F1-876F24E92BA9}" dt="2025-10-22T19:20:48.066" v="606"/>
          <ac:spMkLst>
            <pc:docMk/>
            <pc:sldMk cId="27383301" sldId="392"/>
            <ac:spMk id="17" creationId="{2C11D506-F481-2039-726B-F819F3F91BC2}"/>
          </ac:spMkLst>
        </pc:spChg>
        <pc:spChg chg="add del mod">
          <ac:chgData name="Cummins, Peter" userId="3e019fb5-f2e4-456c-8856-6883cde3d59a" providerId="ADAL" clId="{23282703-A95A-420D-94F1-876F24E92BA9}" dt="2025-10-22T19:23:10.928" v="803" actId="478"/>
          <ac:spMkLst>
            <pc:docMk/>
            <pc:sldMk cId="27383301" sldId="392"/>
            <ac:spMk id="18" creationId="{58D49BD1-7FAF-4856-85BD-584626A4C036}"/>
          </ac:spMkLst>
        </pc:spChg>
        <pc:spChg chg="add mod">
          <ac:chgData name="Cummins, Peter" userId="3e019fb5-f2e4-456c-8856-6883cde3d59a" providerId="ADAL" clId="{23282703-A95A-420D-94F1-876F24E92BA9}" dt="2025-10-23T14:22:29.632" v="4712" actId="20577"/>
          <ac:spMkLst>
            <pc:docMk/>
            <pc:sldMk cId="27383301" sldId="392"/>
            <ac:spMk id="19" creationId="{2203BE03-BED8-6885-AD53-3E5B75330FDB}"/>
          </ac:spMkLst>
        </pc:spChg>
        <pc:spChg chg="add mod">
          <ac:chgData name="Cummins, Peter" userId="3e019fb5-f2e4-456c-8856-6883cde3d59a" providerId="ADAL" clId="{23282703-A95A-420D-94F1-876F24E92BA9}" dt="2025-10-22T19:23:18.566" v="805"/>
          <ac:spMkLst>
            <pc:docMk/>
            <pc:sldMk cId="27383301" sldId="392"/>
            <ac:spMk id="26" creationId="{2CCBC6B1-9BE4-344A-C876-85F97F36BF59}"/>
          </ac:spMkLst>
        </pc:spChg>
        <pc:grpChg chg="add del mod">
          <ac:chgData name="Cummins, Peter" userId="3e019fb5-f2e4-456c-8856-6883cde3d59a" providerId="ADAL" clId="{23282703-A95A-420D-94F1-876F24E92BA9}" dt="2025-10-22T19:23:10.928" v="803" actId="478"/>
          <ac:grpSpMkLst>
            <pc:docMk/>
            <pc:sldMk cId="27383301" sldId="392"/>
            <ac:grpSpMk id="7" creationId="{FE4B7C91-C422-DCD8-2381-95C3F4051423}"/>
          </ac:grpSpMkLst>
        </pc:grpChg>
        <pc:picChg chg="add del mod">
          <ac:chgData name="Cummins, Peter" userId="3e019fb5-f2e4-456c-8856-6883cde3d59a" providerId="ADAL" clId="{23282703-A95A-420D-94F1-876F24E92BA9}" dt="2025-10-22T19:23:10.928" v="803" actId="478"/>
          <ac:picMkLst>
            <pc:docMk/>
            <pc:sldMk cId="27383301" sldId="392"/>
            <ac:picMk id="6" creationId="{D2B56737-D71C-228B-1CA7-EF110E47C22F}"/>
          </ac:picMkLst>
        </pc:picChg>
        <pc:picChg chg="add mod">
          <ac:chgData name="Cummins, Peter" userId="3e019fb5-f2e4-456c-8856-6883cde3d59a" providerId="ADAL" clId="{23282703-A95A-420D-94F1-876F24E92BA9}" dt="2025-10-22T21:40:31.890" v="1572"/>
          <ac:picMkLst>
            <pc:docMk/>
            <pc:sldMk cId="27383301" sldId="392"/>
            <ac:picMk id="28" creationId="{DC1F03C2-D53B-64C8-93DE-CA96C08D314F}"/>
          </ac:picMkLst>
        </pc:picChg>
        <pc:cxnChg chg="add del mod">
          <ac:chgData name="Cummins, Peter" userId="3e019fb5-f2e4-456c-8856-6883cde3d59a" providerId="ADAL" clId="{23282703-A95A-420D-94F1-876F24E92BA9}" dt="2025-10-22T19:23:45.645" v="813" actId="14100"/>
          <ac:cxnSpMkLst>
            <pc:docMk/>
            <pc:sldMk cId="27383301" sldId="392"/>
            <ac:cxnSpMk id="20" creationId="{F324CFCF-0EC0-3282-BB89-3D8952D2649D}"/>
          </ac:cxnSpMkLst>
        </pc:cxnChg>
        <pc:cxnChg chg="add del mod">
          <ac:chgData name="Cummins, Peter" userId="3e019fb5-f2e4-456c-8856-6883cde3d59a" providerId="ADAL" clId="{23282703-A95A-420D-94F1-876F24E92BA9}" dt="2025-10-22T19:23:10.928" v="803" actId="478"/>
          <ac:cxnSpMkLst>
            <pc:docMk/>
            <pc:sldMk cId="27383301" sldId="392"/>
            <ac:cxnSpMk id="21" creationId="{A7999D29-D540-F32C-167F-FFAEB48AD880}"/>
          </ac:cxnSpMkLst>
        </pc:cxnChg>
        <pc:cxnChg chg="add del mod">
          <ac:chgData name="Cummins, Peter" userId="3e019fb5-f2e4-456c-8856-6883cde3d59a" providerId="ADAL" clId="{23282703-A95A-420D-94F1-876F24E92BA9}" dt="2025-10-22T19:23:10.928" v="803" actId="478"/>
          <ac:cxnSpMkLst>
            <pc:docMk/>
            <pc:sldMk cId="27383301" sldId="392"/>
            <ac:cxnSpMk id="22" creationId="{8DC34609-4D3A-D64D-FE68-292090B6BD8F}"/>
          </ac:cxnSpMkLst>
        </pc:cxnChg>
      </pc:sldChg>
      <pc:sldChg chg="addSp modSp new del mod">
        <pc:chgData name="Cummins, Peter" userId="3e019fb5-f2e4-456c-8856-6883cde3d59a" providerId="ADAL" clId="{23282703-A95A-420D-94F1-876F24E92BA9}" dt="2025-10-22T21:28:38.964" v="1222" actId="47"/>
        <pc:sldMkLst>
          <pc:docMk/>
          <pc:sldMk cId="2206993279" sldId="393"/>
        </pc:sldMkLst>
      </pc:sldChg>
      <pc:sldChg chg="addSp delSp modSp add del mod">
        <pc:chgData name="Cummins, Peter" userId="3e019fb5-f2e4-456c-8856-6883cde3d59a" providerId="ADAL" clId="{23282703-A95A-420D-94F1-876F24E92BA9}" dt="2025-10-22T21:29:21.053" v="1227" actId="47"/>
        <pc:sldMkLst>
          <pc:docMk/>
          <pc:sldMk cId="2451212610" sldId="481"/>
        </pc:sldMkLst>
      </pc:sldChg>
      <pc:sldChg chg="add del">
        <pc:chgData name="Cummins, Peter" userId="3e019fb5-f2e4-456c-8856-6883cde3d59a" providerId="ADAL" clId="{23282703-A95A-420D-94F1-876F24E92BA9}" dt="2025-10-22T21:29:44.008" v="1230" actId="47"/>
        <pc:sldMkLst>
          <pc:docMk/>
          <pc:sldMk cId="657183789" sldId="482"/>
        </pc:sldMkLst>
      </pc:sldChg>
      <pc:sldChg chg="add del">
        <pc:chgData name="Cummins, Peter" userId="3e019fb5-f2e4-456c-8856-6883cde3d59a" providerId="ADAL" clId="{23282703-A95A-420D-94F1-876F24E92BA9}" dt="2025-10-22T21:30:28.519" v="1233" actId="47"/>
        <pc:sldMkLst>
          <pc:docMk/>
          <pc:sldMk cId="145287067" sldId="483"/>
        </pc:sldMkLst>
      </pc:sldChg>
      <pc:sldChg chg="addSp delSp modSp new mod ord">
        <pc:chgData name="Cummins, Peter" userId="3e019fb5-f2e4-456c-8856-6883cde3d59a" providerId="ADAL" clId="{23282703-A95A-420D-94F1-876F24E92BA9}" dt="2025-10-23T13:28:43.977" v="4228"/>
        <pc:sldMkLst>
          <pc:docMk/>
          <pc:sldMk cId="1776362970" sldId="484"/>
        </pc:sldMkLst>
        <pc:spChg chg="mod">
          <ac:chgData name="Cummins, Peter" userId="3e019fb5-f2e4-456c-8856-6883cde3d59a" providerId="ADAL" clId="{23282703-A95A-420D-94F1-876F24E92BA9}" dt="2025-10-23T00:07:39.689" v="3980" actId="20577"/>
          <ac:spMkLst>
            <pc:docMk/>
            <pc:sldMk cId="1776362970" sldId="484"/>
            <ac:spMk id="2" creationId="{114E3E87-3F8B-E85A-050D-2EA2AE701157}"/>
          </ac:spMkLst>
        </pc:spChg>
        <pc:spChg chg="add mod">
          <ac:chgData name="Cummins, Peter" userId="3e019fb5-f2e4-456c-8856-6883cde3d59a" providerId="ADAL" clId="{23282703-A95A-420D-94F1-876F24E92BA9}" dt="2025-10-22T21:29:17.206" v="1226"/>
          <ac:spMkLst>
            <pc:docMk/>
            <pc:sldMk cId="1776362970" sldId="484"/>
            <ac:spMk id="5" creationId="{3B2F7D0D-A780-C4DF-FD29-586FA3A19053}"/>
          </ac:spMkLst>
        </pc:spChg>
        <pc:spChg chg="add mod">
          <ac:chgData name="Cummins, Peter" userId="3e019fb5-f2e4-456c-8856-6883cde3d59a" providerId="ADAL" clId="{23282703-A95A-420D-94F1-876F24E92BA9}" dt="2025-10-22T21:29:17.206" v="1226"/>
          <ac:spMkLst>
            <pc:docMk/>
            <pc:sldMk cId="1776362970" sldId="484"/>
            <ac:spMk id="6" creationId="{423E2877-8902-354A-8F8E-A4FC8F340627}"/>
          </ac:spMkLst>
        </pc:spChg>
        <pc:spChg chg="add mod">
          <ac:chgData name="Cummins, Peter" userId="3e019fb5-f2e4-456c-8856-6883cde3d59a" providerId="ADAL" clId="{23282703-A95A-420D-94F1-876F24E92BA9}" dt="2025-10-22T21:29:17.206" v="1226"/>
          <ac:spMkLst>
            <pc:docMk/>
            <pc:sldMk cId="1776362970" sldId="484"/>
            <ac:spMk id="7" creationId="{344C24B2-E373-F890-75C7-B954AA9AE750}"/>
          </ac:spMkLst>
        </pc:spChg>
        <pc:spChg chg="add mod">
          <ac:chgData name="Cummins, Peter" userId="3e019fb5-f2e4-456c-8856-6883cde3d59a" providerId="ADAL" clId="{23282703-A95A-420D-94F1-876F24E92BA9}" dt="2025-10-22T21:29:17.206" v="1226"/>
          <ac:spMkLst>
            <pc:docMk/>
            <pc:sldMk cId="1776362970" sldId="484"/>
            <ac:spMk id="9" creationId="{38A01470-750A-3A80-6EF3-F2655DEA6E87}"/>
          </ac:spMkLst>
        </pc:spChg>
        <pc:spChg chg="add mod">
          <ac:chgData name="Cummins, Peter" userId="3e019fb5-f2e4-456c-8856-6883cde3d59a" providerId="ADAL" clId="{23282703-A95A-420D-94F1-876F24E92BA9}" dt="2025-10-22T21:29:17.206" v="1226"/>
          <ac:spMkLst>
            <pc:docMk/>
            <pc:sldMk cId="1776362970" sldId="484"/>
            <ac:spMk id="11" creationId="{38FBBA1F-A214-816A-9867-8D5610FF6A80}"/>
          </ac:spMkLst>
        </pc:spChg>
        <pc:spChg chg="add mod">
          <ac:chgData name="Cummins, Peter" userId="3e019fb5-f2e4-456c-8856-6883cde3d59a" providerId="ADAL" clId="{23282703-A95A-420D-94F1-876F24E92BA9}" dt="2025-10-22T21:29:17.206" v="1226"/>
          <ac:spMkLst>
            <pc:docMk/>
            <pc:sldMk cId="1776362970" sldId="484"/>
            <ac:spMk id="16" creationId="{479899F5-9877-4D89-05A4-CC5352558FF1}"/>
          </ac:spMkLst>
        </pc:spChg>
        <pc:spChg chg="add mod">
          <ac:chgData name="Cummins, Peter" userId="3e019fb5-f2e4-456c-8856-6883cde3d59a" providerId="ADAL" clId="{23282703-A95A-420D-94F1-876F24E92BA9}" dt="2025-10-22T21:29:17.206" v="1226"/>
          <ac:spMkLst>
            <pc:docMk/>
            <pc:sldMk cId="1776362970" sldId="484"/>
            <ac:spMk id="17" creationId="{FA98E444-E29E-F4F3-EDCD-605E565F2D8D}"/>
          </ac:spMkLst>
        </pc:spChg>
        <pc:spChg chg="add mod">
          <ac:chgData name="Cummins, Peter" userId="3e019fb5-f2e4-456c-8856-6883cde3d59a" providerId="ADAL" clId="{23282703-A95A-420D-94F1-876F24E92BA9}" dt="2025-10-22T21:29:17.206" v="1226"/>
          <ac:spMkLst>
            <pc:docMk/>
            <pc:sldMk cId="1776362970" sldId="484"/>
            <ac:spMk id="18" creationId="{54C70996-AB35-E333-60F7-5BB8379FFE89}"/>
          </ac:spMkLst>
        </pc:spChg>
        <pc:spChg chg="add mod">
          <ac:chgData name="Cummins, Peter" userId="3e019fb5-f2e4-456c-8856-6883cde3d59a" providerId="ADAL" clId="{23282703-A95A-420D-94F1-876F24E92BA9}" dt="2025-10-22T21:29:17.206" v="1226"/>
          <ac:spMkLst>
            <pc:docMk/>
            <pc:sldMk cId="1776362970" sldId="484"/>
            <ac:spMk id="21" creationId="{33303F05-6EDF-A8BC-EC4E-2C9FD0DFD03E}"/>
          </ac:spMkLst>
        </pc:spChg>
        <pc:spChg chg="add mod">
          <ac:chgData name="Cummins, Peter" userId="3e019fb5-f2e4-456c-8856-6883cde3d59a" providerId="ADAL" clId="{23282703-A95A-420D-94F1-876F24E92BA9}" dt="2025-10-22T21:29:17.206" v="1226"/>
          <ac:spMkLst>
            <pc:docMk/>
            <pc:sldMk cId="1776362970" sldId="484"/>
            <ac:spMk id="22" creationId="{E24C49C3-AD7B-D328-D6FE-6E954E7396CC}"/>
          </ac:spMkLst>
        </pc:spChg>
        <pc:spChg chg="add mod">
          <ac:chgData name="Cummins, Peter" userId="3e019fb5-f2e4-456c-8856-6883cde3d59a" providerId="ADAL" clId="{23282703-A95A-420D-94F1-876F24E92BA9}" dt="2025-10-23T00:07:23.559" v="3958" actId="207"/>
          <ac:spMkLst>
            <pc:docMk/>
            <pc:sldMk cId="1776362970" sldId="484"/>
            <ac:spMk id="27" creationId="{5F1C8169-05ED-CCD5-0F8C-5BAEFDA21071}"/>
          </ac:spMkLst>
        </pc:spChg>
        <pc:spChg chg="add mod">
          <ac:chgData name="Cummins, Peter" userId="3e019fb5-f2e4-456c-8856-6883cde3d59a" providerId="ADAL" clId="{23282703-A95A-420D-94F1-876F24E92BA9}" dt="2025-10-23T13:28:43.977" v="4228"/>
          <ac:spMkLst>
            <pc:docMk/>
            <pc:sldMk cId="1776362970" sldId="484"/>
            <ac:spMk id="28" creationId="{462AA951-5C1F-E468-D1AD-8C8582824B91}"/>
          </ac:spMkLst>
        </pc:spChg>
        <pc:picChg chg="add mod">
          <ac:chgData name="Cummins, Peter" userId="3e019fb5-f2e4-456c-8856-6883cde3d59a" providerId="ADAL" clId="{23282703-A95A-420D-94F1-876F24E92BA9}" dt="2025-10-22T21:40:44.276" v="1581"/>
          <ac:picMkLst>
            <pc:docMk/>
            <pc:sldMk cId="1776362970" sldId="484"/>
            <ac:picMk id="26" creationId="{C42AFB0D-79D1-1ACB-ED69-702BD1991E2A}"/>
          </ac:picMkLst>
        </pc:picChg>
      </pc:sldChg>
      <pc:sldChg chg="addSp delSp modSp new mod ord">
        <pc:chgData name="Cummins, Peter" userId="3e019fb5-f2e4-456c-8856-6883cde3d59a" providerId="ADAL" clId="{23282703-A95A-420D-94F1-876F24E92BA9}" dt="2025-10-23T13:28:46.099" v="4230"/>
        <pc:sldMkLst>
          <pc:docMk/>
          <pc:sldMk cId="2279769121" sldId="485"/>
        </pc:sldMkLst>
        <pc:spChg chg="mod">
          <ac:chgData name="Cummins, Peter" userId="3e019fb5-f2e4-456c-8856-6883cde3d59a" providerId="ADAL" clId="{23282703-A95A-420D-94F1-876F24E92BA9}" dt="2025-10-23T00:08:34.060" v="4030"/>
          <ac:spMkLst>
            <pc:docMk/>
            <pc:sldMk cId="2279769121" sldId="485"/>
            <ac:spMk id="2" creationId="{848FC2DD-F56C-E44B-56B0-466778B98087}"/>
          </ac:spMkLst>
        </pc:spChg>
        <pc:spChg chg="add mod">
          <ac:chgData name="Cummins, Peter" userId="3e019fb5-f2e4-456c-8856-6883cde3d59a" providerId="ADAL" clId="{23282703-A95A-420D-94F1-876F24E92BA9}" dt="2025-10-22T21:29:39.916" v="1229"/>
          <ac:spMkLst>
            <pc:docMk/>
            <pc:sldMk cId="2279769121" sldId="485"/>
            <ac:spMk id="6" creationId="{81241B73-DA57-71AC-7429-C19AF73BFC82}"/>
          </ac:spMkLst>
        </pc:spChg>
        <pc:spChg chg="add mod">
          <ac:chgData name="Cummins, Peter" userId="3e019fb5-f2e4-456c-8856-6883cde3d59a" providerId="ADAL" clId="{23282703-A95A-420D-94F1-876F24E92BA9}" dt="2025-10-22T21:29:39.916" v="1229"/>
          <ac:spMkLst>
            <pc:docMk/>
            <pc:sldMk cId="2279769121" sldId="485"/>
            <ac:spMk id="7" creationId="{E8D0C47E-150E-85F2-A1E8-87EBABC042E8}"/>
          </ac:spMkLst>
        </pc:spChg>
        <pc:spChg chg="add mod">
          <ac:chgData name="Cummins, Peter" userId="3e019fb5-f2e4-456c-8856-6883cde3d59a" providerId="ADAL" clId="{23282703-A95A-420D-94F1-876F24E92BA9}" dt="2025-10-22T21:29:39.916" v="1229"/>
          <ac:spMkLst>
            <pc:docMk/>
            <pc:sldMk cId="2279769121" sldId="485"/>
            <ac:spMk id="10" creationId="{36956AB7-A428-60C9-C0EC-C6193D3C1DC1}"/>
          </ac:spMkLst>
        </pc:spChg>
        <pc:spChg chg="add mod">
          <ac:chgData name="Cummins, Peter" userId="3e019fb5-f2e4-456c-8856-6883cde3d59a" providerId="ADAL" clId="{23282703-A95A-420D-94F1-876F24E92BA9}" dt="2025-10-22T21:29:39.916" v="1229"/>
          <ac:spMkLst>
            <pc:docMk/>
            <pc:sldMk cId="2279769121" sldId="485"/>
            <ac:spMk id="12" creationId="{5A96A86E-72C5-3278-6D83-7FCDAEFFC14D}"/>
          </ac:spMkLst>
        </pc:spChg>
        <pc:spChg chg="add mod">
          <ac:chgData name="Cummins, Peter" userId="3e019fb5-f2e4-456c-8856-6883cde3d59a" providerId="ADAL" clId="{23282703-A95A-420D-94F1-876F24E92BA9}" dt="2025-10-22T21:29:39.916" v="1229"/>
          <ac:spMkLst>
            <pc:docMk/>
            <pc:sldMk cId="2279769121" sldId="485"/>
            <ac:spMk id="18" creationId="{6946D55B-EE82-AFBD-FD9D-7204D202CA8D}"/>
          </ac:spMkLst>
        </pc:spChg>
        <pc:spChg chg="add mod">
          <ac:chgData name="Cummins, Peter" userId="3e019fb5-f2e4-456c-8856-6883cde3d59a" providerId="ADAL" clId="{23282703-A95A-420D-94F1-876F24E92BA9}" dt="2025-10-22T21:29:39.916" v="1229"/>
          <ac:spMkLst>
            <pc:docMk/>
            <pc:sldMk cId="2279769121" sldId="485"/>
            <ac:spMk id="25" creationId="{CBC6B9C3-8D8E-E8C9-8E86-2FB566F91FF1}"/>
          </ac:spMkLst>
        </pc:spChg>
        <pc:spChg chg="add mod">
          <ac:chgData name="Cummins, Peter" userId="3e019fb5-f2e4-456c-8856-6883cde3d59a" providerId="ADAL" clId="{23282703-A95A-420D-94F1-876F24E92BA9}" dt="2025-10-22T21:29:39.916" v="1229"/>
          <ac:spMkLst>
            <pc:docMk/>
            <pc:sldMk cId="2279769121" sldId="485"/>
            <ac:spMk id="33" creationId="{D2F8125D-6F3D-5D45-EB54-0361227A83E6}"/>
          </ac:spMkLst>
        </pc:spChg>
        <pc:spChg chg="add mod">
          <ac:chgData name="Cummins, Peter" userId="3e019fb5-f2e4-456c-8856-6883cde3d59a" providerId="ADAL" clId="{23282703-A95A-420D-94F1-876F24E92BA9}" dt="2025-10-22T21:29:39.916" v="1229"/>
          <ac:spMkLst>
            <pc:docMk/>
            <pc:sldMk cId="2279769121" sldId="485"/>
            <ac:spMk id="36" creationId="{9FB7919B-4806-6A8E-424E-4179C0655737}"/>
          </ac:spMkLst>
        </pc:spChg>
        <pc:spChg chg="add mod">
          <ac:chgData name="Cummins, Peter" userId="3e019fb5-f2e4-456c-8856-6883cde3d59a" providerId="ADAL" clId="{23282703-A95A-420D-94F1-876F24E92BA9}" dt="2025-10-22T21:29:39.916" v="1229"/>
          <ac:spMkLst>
            <pc:docMk/>
            <pc:sldMk cId="2279769121" sldId="485"/>
            <ac:spMk id="39" creationId="{E899AB40-BD11-C47F-41C5-0855EF9B84EA}"/>
          </ac:spMkLst>
        </pc:spChg>
        <pc:spChg chg="add mod">
          <ac:chgData name="Cummins, Peter" userId="3e019fb5-f2e4-456c-8856-6883cde3d59a" providerId="ADAL" clId="{23282703-A95A-420D-94F1-876F24E92BA9}" dt="2025-10-22T21:29:39.916" v="1229"/>
          <ac:spMkLst>
            <pc:docMk/>
            <pc:sldMk cId="2279769121" sldId="485"/>
            <ac:spMk id="40" creationId="{0B8CB975-8D17-FBBD-0F6E-A41392A81FBA}"/>
          </ac:spMkLst>
        </pc:spChg>
        <pc:spChg chg="add mod">
          <ac:chgData name="Cummins, Peter" userId="3e019fb5-f2e4-456c-8856-6883cde3d59a" providerId="ADAL" clId="{23282703-A95A-420D-94F1-876F24E92BA9}" dt="2025-10-23T13:28:46.099" v="4230"/>
          <ac:spMkLst>
            <pc:docMk/>
            <pc:sldMk cId="2279769121" sldId="485"/>
            <ac:spMk id="45" creationId="{020AA505-BB5A-07E7-699A-D083867A5C9B}"/>
          </ac:spMkLst>
        </pc:spChg>
        <pc:spChg chg="add mod">
          <ac:chgData name="Cummins, Peter" userId="3e019fb5-f2e4-456c-8856-6883cde3d59a" providerId="ADAL" clId="{23282703-A95A-420D-94F1-876F24E92BA9}" dt="2025-10-23T00:08:28.865" v="4029" actId="1038"/>
          <ac:spMkLst>
            <pc:docMk/>
            <pc:sldMk cId="2279769121" sldId="485"/>
            <ac:spMk id="50" creationId="{B370C177-43FC-3605-3DB8-B7E23637FFE6}"/>
          </ac:spMkLst>
        </pc:spChg>
        <pc:picChg chg="add mod">
          <ac:chgData name="Cummins, Peter" userId="3e019fb5-f2e4-456c-8856-6883cde3d59a" providerId="ADAL" clId="{23282703-A95A-420D-94F1-876F24E92BA9}" dt="2025-10-22T21:40:45.043" v="1582"/>
          <ac:picMkLst>
            <pc:docMk/>
            <pc:sldMk cId="2279769121" sldId="485"/>
            <ac:picMk id="44" creationId="{15A52D73-5BD4-AF02-3B8D-2C06CD74E540}"/>
          </ac:picMkLst>
        </pc:picChg>
      </pc:sldChg>
      <pc:sldChg chg="addSp delSp modSp new mod ord">
        <pc:chgData name="Cummins, Peter" userId="3e019fb5-f2e4-456c-8856-6883cde3d59a" providerId="ADAL" clId="{23282703-A95A-420D-94F1-876F24E92BA9}" dt="2025-10-23T13:28:49.086" v="4232"/>
        <pc:sldMkLst>
          <pc:docMk/>
          <pc:sldMk cId="497970698" sldId="486"/>
        </pc:sldMkLst>
        <pc:spChg chg="mod">
          <ac:chgData name="Cummins, Peter" userId="3e019fb5-f2e4-456c-8856-6883cde3d59a" providerId="ADAL" clId="{23282703-A95A-420D-94F1-876F24E92BA9}" dt="2025-10-23T00:08:54.729" v="4032"/>
          <ac:spMkLst>
            <pc:docMk/>
            <pc:sldMk cId="497970698" sldId="486"/>
            <ac:spMk id="2" creationId="{1AF4826B-A8B6-442E-B50A-278EAA8E07F2}"/>
          </ac:spMkLst>
        </pc:spChg>
        <pc:spChg chg="add mod">
          <ac:chgData name="Cummins, Peter" userId="3e019fb5-f2e4-456c-8856-6883cde3d59a" providerId="ADAL" clId="{23282703-A95A-420D-94F1-876F24E92BA9}" dt="2025-10-22T21:29:52.935" v="1232"/>
          <ac:spMkLst>
            <pc:docMk/>
            <pc:sldMk cId="497970698" sldId="486"/>
            <ac:spMk id="5" creationId="{CD4C14DC-6EA5-CEDE-333C-824F4E5049D6}"/>
          </ac:spMkLst>
        </pc:spChg>
        <pc:spChg chg="add mod">
          <ac:chgData name="Cummins, Peter" userId="3e019fb5-f2e4-456c-8856-6883cde3d59a" providerId="ADAL" clId="{23282703-A95A-420D-94F1-876F24E92BA9}" dt="2025-10-22T21:29:52.935" v="1232"/>
          <ac:spMkLst>
            <pc:docMk/>
            <pc:sldMk cId="497970698" sldId="486"/>
            <ac:spMk id="10" creationId="{BBD36545-C9CF-B9AC-E1D7-9018ADC0592E}"/>
          </ac:spMkLst>
        </pc:spChg>
        <pc:spChg chg="add mod">
          <ac:chgData name="Cummins, Peter" userId="3e019fb5-f2e4-456c-8856-6883cde3d59a" providerId="ADAL" clId="{23282703-A95A-420D-94F1-876F24E92BA9}" dt="2025-10-22T21:29:52.935" v="1232"/>
          <ac:spMkLst>
            <pc:docMk/>
            <pc:sldMk cId="497970698" sldId="486"/>
            <ac:spMk id="12" creationId="{80154E14-8611-50A8-A374-0A8FF4081EE8}"/>
          </ac:spMkLst>
        </pc:spChg>
        <pc:spChg chg="add mod">
          <ac:chgData name="Cummins, Peter" userId="3e019fb5-f2e4-456c-8856-6883cde3d59a" providerId="ADAL" clId="{23282703-A95A-420D-94F1-876F24E92BA9}" dt="2025-10-22T21:29:52.935" v="1232"/>
          <ac:spMkLst>
            <pc:docMk/>
            <pc:sldMk cId="497970698" sldId="486"/>
            <ac:spMk id="14" creationId="{4A3608B0-E49A-10E5-25AA-0BBF9E741A63}"/>
          </ac:spMkLst>
        </pc:spChg>
        <pc:spChg chg="add mod">
          <ac:chgData name="Cummins, Peter" userId="3e019fb5-f2e4-456c-8856-6883cde3d59a" providerId="ADAL" clId="{23282703-A95A-420D-94F1-876F24E92BA9}" dt="2025-10-22T21:29:52.935" v="1232"/>
          <ac:spMkLst>
            <pc:docMk/>
            <pc:sldMk cId="497970698" sldId="486"/>
            <ac:spMk id="15" creationId="{02B15F1F-967E-0201-CB8C-4BD294699686}"/>
          </ac:spMkLst>
        </pc:spChg>
        <pc:spChg chg="add mod">
          <ac:chgData name="Cummins, Peter" userId="3e019fb5-f2e4-456c-8856-6883cde3d59a" providerId="ADAL" clId="{23282703-A95A-420D-94F1-876F24E92BA9}" dt="2025-10-22T21:29:52.935" v="1232"/>
          <ac:spMkLst>
            <pc:docMk/>
            <pc:sldMk cId="497970698" sldId="486"/>
            <ac:spMk id="18" creationId="{E43E0A01-213B-6A3D-4745-74408A67F383}"/>
          </ac:spMkLst>
        </pc:spChg>
        <pc:spChg chg="add mod">
          <ac:chgData name="Cummins, Peter" userId="3e019fb5-f2e4-456c-8856-6883cde3d59a" providerId="ADAL" clId="{23282703-A95A-420D-94F1-876F24E92BA9}" dt="2025-10-22T21:29:52.935" v="1232"/>
          <ac:spMkLst>
            <pc:docMk/>
            <pc:sldMk cId="497970698" sldId="486"/>
            <ac:spMk id="22" creationId="{EDABB911-C8EC-B56C-D7F9-DEE7FFB7C8D9}"/>
          </ac:spMkLst>
        </pc:spChg>
        <pc:spChg chg="add mod">
          <ac:chgData name="Cummins, Peter" userId="3e019fb5-f2e4-456c-8856-6883cde3d59a" providerId="ADAL" clId="{23282703-A95A-420D-94F1-876F24E92BA9}" dt="2025-10-22T21:29:52.935" v="1232"/>
          <ac:spMkLst>
            <pc:docMk/>
            <pc:sldMk cId="497970698" sldId="486"/>
            <ac:spMk id="37" creationId="{6EBC4CEA-FA84-BC61-838F-E22A34A0B64F}"/>
          </ac:spMkLst>
        </pc:spChg>
        <pc:spChg chg="add mod">
          <ac:chgData name="Cummins, Peter" userId="3e019fb5-f2e4-456c-8856-6883cde3d59a" providerId="ADAL" clId="{23282703-A95A-420D-94F1-876F24E92BA9}" dt="2025-10-22T21:29:52.935" v="1232"/>
          <ac:spMkLst>
            <pc:docMk/>
            <pc:sldMk cId="497970698" sldId="486"/>
            <ac:spMk id="39" creationId="{CCDAA089-5B84-DAA1-6858-FD74C58448A4}"/>
          </ac:spMkLst>
        </pc:spChg>
        <pc:spChg chg="add mod">
          <ac:chgData name="Cummins, Peter" userId="3e019fb5-f2e4-456c-8856-6883cde3d59a" providerId="ADAL" clId="{23282703-A95A-420D-94F1-876F24E92BA9}" dt="2025-10-22T21:29:52.935" v="1232"/>
          <ac:spMkLst>
            <pc:docMk/>
            <pc:sldMk cId="497970698" sldId="486"/>
            <ac:spMk id="43" creationId="{63E88548-6A8D-AEC3-F2AD-AB0D4AE3D039}"/>
          </ac:spMkLst>
        </pc:spChg>
        <pc:spChg chg="add mod">
          <ac:chgData name="Cummins, Peter" userId="3e019fb5-f2e4-456c-8856-6883cde3d59a" providerId="ADAL" clId="{23282703-A95A-420D-94F1-876F24E92BA9}" dt="2025-10-23T00:09:01.166" v="4037" actId="20577"/>
          <ac:spMkLst>
            <pc:docMk/>
            <pc:sldMk cId="497970698" sldId="486"/>
            <ac:spMk id="45" creationId="{ABAC0A3C-F0EB-7924-0C48-EF24A584D417}"/>
          </ac:spMkLst>
        </pc:spChg>
        <pc:spChg chg="add mod">
          <ac:chgData name="Cummins, Peter" userId="3e019fb5-f2e4-456c-8856-6883cde3d59a" providerId="ADAL" clId="{23282703-A95A-420D-94F1-876F24E92BA9}" dt="2025-10-23T13:28:49.086" v="4232"/>
          <ac:spMkLst>
            <pc:docMk/>
            <pc:sldMk cId="497970698" sldId="486"/>
            <ac:spMk id="46" creationId="{50B60DCC-8C9A-AADC-21BB-FE3ADDF7B20B}"/>
          </ac:spMkLst>
        </pc:spChg>
        <pc:picChg chg="add mod">
          <ac:chgData name="Cummins, Peter" userId="3e019fb5-f2e4-456c-8856-6883cde3d59a" providerId="ADAL" clId="{23282703-A95A-420D-94F1-876F24E92BA9}" dt="2025-10-22T21:40:45.635" v="1583"/>
          <ac:picMkLst>
            <pc:docMk/>
            <pc:sldMk cId="497970698" sldId="486"/>
            <ac:picMk id="44" creationId="{551EE03E-0ECA-4BF8-4113-7654F80F8A37}"/>
          </ac:picMkLst>
        </pc:picChg>
      </pc:sldChg>
      <pc:sldChg chg="addSp delSp modSp new mod">
        <pc:chgData name="Cummins, Peter" userId="3e019fb5-f2e4-456c-8856-6883cde3d59a" providerId="ADAL" clId="{23282703-A95A-420D-94F1-876F24E92BA9}" dt="2025-10-23T13:28:41.718" v="4226"/>
        <pc:sldMkLst>
          <pc:docMk/>
          <pc:sldMk cId="2563775105" sldId="487"/>
        </pc:sldMkLst>
        <pc:spChg chg="mod">
          <ac:chgData name="Cummins, Peter" userId="3e019fb5-f2e4-456c-8856-6883cde3d59a" providerId="ADAL" clId="{23282703-A95A-420D-94F1-876F24E92BA9}" dt="2025-10-22T21:32:25.959" v="1281" actId="20577"/>
          <ac:spMkLst>
            <pc:docMk/>
            <pc:sldMk cId="2563775105" sldId="487"/>
            <ac:spMk id="2" creationId="{0DCE401E-5D28-8D64-3D9D-8C00812D5579}"/>
          </ac:spMkLst>
        </pc:spChg>
        <pc:spChg chg="add mod">
          <ac:chgData name="Cummins, Peter" userId="3e019fb5-f2e4-456c-8856-6883cde3d59a" providerId="ADAL" clId="{23282703-A95A-420D-94F1-876F24E92BA9}" dt="2025-10-23T13:28:41.718" v="4226"/>
          <ac:spMkLst>
            <pc:docMk/>
            <pc:sldMk cId="2563775105" sldId="487"/>
            <ac:spMk id="3" creationId="{225E43D2-2AAA-ADB4-BD13-5EC3C397E5D5}"/>
          </ac:spMkLst>
        </pc:spChg>
      </pc:sldChg>
      <pc:sldChg chg="addSp delSp modSp add mod">
        <pc:chgData name="Cummins, Peter" userId="3e019fb5-f2e4-456c-8856-6883cde3d59a" providerId="ADAL" clId="{23282703-A95A-420D-94F1-876F24E92BA9}" dt="2025-10-23T14:26:13.858" v="4725" actId="108"/>
        <pc:sldMkLst>
          <pc:docMk/>
          <pc:sldMk cId="1817970796" sldId="488"/>
        </pc:sldMkLst>
        <pc:spChg chg="add mod">
          <ac:chgData name="Cummins, Peter" userId="3e019fb5-f2e4-456c-8856-6883cde3d59a" providerId="ADAL" clId="{23282703-A95A-420D-94F1-876F24E92BA9}" dt="2025-10-23T13:27:45.678" v="4194"/>
          <ac:spMkLst>
            <pc:docMk/>
            <pc:sldMk cId="1817970796" sldId="488"/>
            <ac:spMk id="4" creationId="{A3F6FF93-BBCA-DDD3-3A59-79BC9EBBAB06}"/>
          </ac:spMkLst>
        </pc:spChg>
        <pc:spChg chg="mod">
          <ac:chgData name="Cummins, Peter" userId="3e019fb5-f2e4-456c-8856-6883cde3d59a" providerId="ADAL" clId="{23282703-A95A-420D-94F1-876F24E92BA9}" dt="2025-10-22T23:50:53.801" v="3722" actId="20577"/>
          <ac:spMkLst>
            <pc:docMk/>
            <pc:sldMk cId="1817970796" sldId="488"/>
            <ac:spMk id="8" creationId="{1EA51D9E-80BF-F22C-01FB-0EA222E7990C}"/>
          </ac:spMkLst>
        </pc:spChg>
        <pc:spChg chg="mod">
          <ac:chgData name="Cummins, Peter" userId="3e019fb5-f2e4-456c-8856-6883cde3d59a" providerId="ADAL" clId="{23282703-A95A-420D-94F1-876F24E92BA9}" dt="2025-10-23T14:26:13.858" v="4725" actId="108"/>
          <ac:spMkLst>
            <pc:docMk/>
            <pc:sldMk cId="1817970796" sldId="488"/>
            <ac:spMk id="9" creationId="{672A1882-FBDD-7C24-9E6C-916BA2056291}"/>
          </ac:spMkLst>
        </pc:spChg>
      </pc:sldChg>
      <pc:sldChg chg="addSp delSp modSp new mod">
        <pc:chgData name="Cummins, Peter" userId="3e019fb5-f2e4-456c-8856-6883cde3d59a" providerId="ADAL" clId="{23282703-A95A-420D-94F1-876F24E92BA9}" dt="2025-10-23T14:31:30.193" v="4747"/>
        <pc:sldMkLst>
          <pc:docMk/>
          <pc:sldMk cId="1583316381" sldId="489"/>
        </pc:sldMkLst>
        <pc:spChg chg="mod">
          <ac:chgData name="Cummins, Peter" userId="3e019fb5-f2e4-456c-8856-6883cde3d59a" providerId="ADAL" clId="{23282703-A95A-420D-94F1-876F24E92BA9}" dt="2025-10-22T23:06:52.351" v="2778" actId="20577"/>
          <ac:spMkLst>
            <pc:docMk/>
            <pc:sldMk cId="1583316381" sldId="489"/>
            <ac:spMk id="2" creationId="{DCD1B5FB-0761-4F3B-C63C-2C350523FB00}"/>
          </ac:spMkLst>
        </pc:spChg>
        <pc:spChg chg="add mod">
          <ac:chgData name="Cummins, Peter" userId="3e019fb5-f2e4-456c-8856-6883cde3d59a" providerId="ADAL" clId="{23282703-A95A-420D-94F1-876F24E92BA9}" dt="2025-10-23T14:31:30.193" v="4747"/>
          <ac:spMkLst>
            <pc:docMk/>
            <pc:sldMk cId="1583316381" sldId="489"/>
            <ac:spMk id="3" creationId="{7792EBC9-7528-F303-CFF2-CB2244CF7E73}"/>
          </ac:spMkLst>
        </pc:spChg>
      </pc:sldChg>
      <pc:sldChg chg="modSp new del mod">
        <pc:chgData name="Cummins, Peter" userId="3e019fb5-f2e4-456c-8856-6883cde3d59a" providerId="ADAL" clId="{23282703-A95A-420D-94F1-876F24E92BA9}" dt="2025-10-22T23:06:30.594" v="2750" actId="680"/>
        <pc:sldMkLst>
          <pc:docMk/>
          <pc:sldMk cId="1829453084" sldId="489"/>
        </pc:sldMkLst>
      </pc:sldChg>
      <pc:sldChg chg="addSp delSp modSp add mod">
        <pc:chgData name="Cummins, Peter" userId="3e019fb5-f2e4-456c-8856-6883cde3d59a" providerId="ADAL" clId="{23282703-A95A-420D-94F1-876F24E92BA9}" dt="2025-10-23T13:27:28.757" v="4180"/>
        <pc:sldMkLst>
          <pc:docMk/>
          <pc:sldMk cId="2781455981" sldId="490"/>
        </pc:sldMkLst>
        <pc:spChg chg="mod">
          <ac:chgData name="Cummins, Peter" userId="3e019fb5-f2e4-456c-8856-6883cde3d59a" providerId="ADAL" clId="{23282703-A95A-420D-94F1-876F24E92BA9}" dt="2025-10-22T23:07:39.346" v="2781"/>
          <ac:spMkLst>
            <pc:docMk/>
            <pc:sldMk cId="2781455981" sldId="490"/>
            <ac:spMk id="2" creationId="{9B2AAA97-8C51-5DA2-9D1C-7C6E0F6A7FD2}"/>
          </ac:spMkLst>
        </pc:spChg>
        <pc:spChg chg="add mod">
          <ac:chgData name="Cummins, Peter" userId="3e019fb5-f2e4-456c-8856-6883cde3d59a" providerId="ADAL" clId="{23282703-A95A-420D-94F1-876F24E92BA9}" dt="2025-10-23T13:27:28.757" v="4180"/>
          <ac:spMkLst>
            <pc:docMk/>
            <pc:sldMk cId="2781455981" sldId="490"/>
            <ac:spMk id="3" creationId="{7E39C432-BB5C-94FA-5240-74EAC578BC3C}"/>
          </ac:spMkLst>
        </pc:spChg>
      </pc:sldChg>
      <pc:sldChg chg="addSp delSp modSp new mod">
        <pc:chgData name="Cummins, Peter" userId="3e019fb5-f2e4-456c-8856-6883cde3d59a" providerId="ADAL" clId="{23282703-A95A-420D-94F1-876F24E92BA9}" dt="2025-10-23T14:32:09.730" v="4756"/>
        <pc:sldMkLst>
          <pc:docMk/>
          <pc:sldMk cId="1014890825" sldId="491"/>
        </pc:sldMkLst>
        <pc:spChg chg="mod">
          <ac:chgData name="Cummins, Peter" userId="3e019fb5-f2e4-456c-8856-6883cde3d59a" providerId="ADAL" clId="{23282703-A95A-420D-94F1-876F24E92BA9}" dt="2025-10-22T23:08:00.228" v="2783"/>
          <ac:spMkLst>
            <pc:docMk/>
            <pc:sldMk cId="1014890825" sldId="491"/>
            <ac:spMk id="2" creationId="{94F9EE04-C284-B07A-4532-B3F75A078D83}"/>
          </ac:spMkLst>
        </pc:spChg>
        <pc:spChg chg="add mod">
          <ac:chgData name="Cummins, Peter" userId="3e019fb5-f2e4-456c-8856-6883cde3d59a" providerId="ADAL" clId="{23282703-A95A-420D-94F1-876F24E92BA9}" dt="2025-10-23T13:27:38.205" v="4188"/>
          <ac:spMkLst>
            <pc:docMk/>
            <pc:sldMk cId="1014890825" sldId="491"/>
            <ac:spMk id="5" creationId="{71DCA9D7-CF3B-2EFE-1D1D-CC9B83A55012}"/>
          </ac:spMkLst>
        </pc:spChg>
        <pc:spChg chg="add mod">
          <ac:chgData name="Cummins, Peter" userId="3e019fb5-f2e4-456c-8856-6883cde3d59a" providerId="ADAL" clId="{23282703-A95A-420D-94F1-876F24E92BA9}" dt="2025-10-23T14:00:11.404" v="4405" actId="20577"/>
          <ac:spMkLst>
            <pc:docMk/>
            <pc:sldMk cId="1014890825" sldId="491"/>
            <ac:spMk id="8" creationId="{E5507BEA-5DB7-A816-C5A9-065D88A79BC9}"/>
          </ac:spMkLst>
        </pc:spChg>
        <pc:picChg chg="add mod">
          <ac:chgData name="Cummins, Peter" userId="3e019fb5-f2e4-456c-8856-6883cde3d59a" providerId="ADAL" clId="{23282703-A95A-420D-94F1-876F24E92BA9}" dt="2025-10-23T14:32:09.730" v="4756"/>
          <ac:picMkLst>
            <pc:docMk/>
            <pc:sldMk cId="1014890825" sldId="491"/>
            <ac:picMk id="6" creationId="{52A91EB6-1078-7A27-E8DA-3EBE1DC12AE5}"/>
          </ac:picMkLst>
        </pc:picChg>
      </pc:sldChg>
      <pc:sldChg chg="addSp delSp modSp add mod">
        <pc:chgData name="Cummins, Peter" userId="3e019fb5-f2e4-456c-8856-6883cde3d59a" providerId="ADAL" clId="{23282703-A95A-420D-94F1-876F24E92BA9}" dt="2025-10-23T13:27:40.449" v="4190"/>
        <pc:sldMkLst>
          <pc:docMk/>
          <pc:sldMk cId="559101146" sldId="492"/>
        </pc:sldMkLst>
        <pc:spChg chg="mod">
          <ac:chgData name="Cummins, Peter" userId="3e019fb5-f2e4-456c-8856-6883cde3d59a" providerId="ADAL" clId="{23282703-A95A-420D-94F1-876F24E92BA9}" dt="2025-10-22T23:16:43.160" v="2899" actId="20577"/>
          <ac:spMkLst>
            <pc:docMk/>
            <pc:sldMk cId="559101146" sldId="492"/>
            <ac:spMk id="2" creationId="{283255A4-FA27-1D85-ED4A-F73B4D583538}"/>
          </ac:spMkLst>
        </pc:spChg>
        <pc:spChg chg="add mod">
          <ac:chgData name="Cummins, Peter" userId="3e019fb5-f2e4-456c-8856-6883cde3d59a" providerId="ADAL" clId="{23282703-A95A-420D-94F1-876F24E92BA9}" dt="2025-10-23T13:27:40.449" v="4190"/>
          <ac:spMkLst>
            <pc:docMk/>
            <pc:sldMk cId="559101146" sldId="492"/>
            <ac:spMk id="3" creationId="{4389AE76-609E-0A58-76F4-6C6330C5C8FC}"/>
          </ac:spMkLst>
        </pc:spChg>
      </pc:sldChg>
      <pc:sldChg chg="addSp delSp modSp add mod">
        <pc:chgData name="Cummins, Peter" userId="3e019fb5-f2e4-456c-8856-6883cde3d59a" providerId="ADAL" clId="{23282703-A95A-420D-94F1-876F24E92BA9}" dt="2025-10-23T14:03:32.230" v="4481" actId="14100"/>
        <pc:sldMkLst>
          <pc:docMk/>
          <pc:sldMk cId="3018724685" sldId="493"/>
        </pc:sldMkLst>
        <pc:spChg chg="mod">
          <ac:chgData name="Cummins, Peter" userId="3e019fb5-f2e4-456c-8856-6883cde3d59a" providerId="ADAL" clId="{23282703-A95A-420D-94F1-876F24E92BA9}" dt="2025-10-23T14:03:32.230" v="4481" actId="14100"/>
          <ac:spMkLst>
            <pc:docMk/>
            <pc:sldMk cId="3018724685" sldId="493"/>
            <ac:spMk id="2" creationId="{0DC10E9B-7072-97FF-902C-A20C234B9CA0}"/>
          </ac:spMkLst>
        </pc:spChg>
        <pc:spChg chg="add mod">
          <ac:chgData name="Cummins, Peter" userId="3e019fb5-f2e4-456c-8856-6883cde3d59a" providerId="ADAL" clId="{23282703-A95A-420D-94F1-876F24E92BA9}" dt="2025-10-23T13:27:50.166" v="4198"/>
          <ac:spMkLst>
            <pc:docMk/>
            <pc:sldMk cId="3018724685" sldId="493"/>
            <ac:spMk id="3" creationId="{0D66CEB8-2C62-DE82-CD2F-7EDE1BAA671C}"/>
          </ac:spMkLst>
        </pc:spChg>
      </pc:sldChg>
      <pc:sldChg chg="addSp delSp modSp add mod">
        <pc:chgData name="Cummins, Peter" userId="3e019fb5-f2e4-456c-8856-6883cde3d59a" providerId="ADAL" clId="{23282703-A95A-420D-94F1-876F24E92BA9}" dt="2025-10-23T13:27:57.496" v="4204"/>
        <pc:sldMkLst>
          <pc:docMk/>
          <pc:sldMk cId="1492545614" sldId="494"/>
        </pc:sldMkLst>
        <pc:spChg chg="mod">
          <ac:chgData name="Cummins, Peter" userId="3e019fb5-f2e4-456c-8856-6883cde3d59a" providerId="ADAL" clId="{23282703-A95A-420D-94F1-876F24E92BA9}" dt="2025-10-22T23:22:06.680" v="2980" actId="14100"/>
          <ac:spMkLst>
            <pc:docMk/>
            <pc:sldMk cId="1492545614" sldId="494"/>
            <ac:spMk id="2" creationId="{B0DECC9D-1AD8-65D9-6B18-A16C240D5D14}"/>
          </ac:spMkLst>
        </pc:spChg>
        <pc:spChg chg="add mod">
          <ac:chgData name="Cummins, Peter" userId="3e019fb5-f2e4-456c-8856-6883cde3d59a" providerId="ADAL" clId="{23282703-A95A-420D-94F1-876F24E92BA9}" dt="2025-10-23T13:27:57.496" v="4204"/>
          <ac:spMkLst>
            <pc:docMk/>
            <pc:sldMk cId="1492545614" sldId="494"/>
            <ac:spMk id="3" creationId="{216BBEE2-4855-ACB6-B1A1-D03D5282008F}"/>
          </ac:spMkLst>
        </pc:spChg>
      </pc:sldChg>
      <pc:sldChg chg="addSp delSp modSp new mod modCm">
        <pc:chgData name="Cummins, Peter" userId="3e019fb5-f2e4-456c-8856-6883cde3d59a" providerId="ADAL" clId="{23282703-A95A-420D-94F1-876F24E92BA9}" dt="2025-10-23T14:32:02.778" v="4755"/>
        <pc:sldMkLst>
          <pc:docMk/>
          <pc:sldMk cId="3602498010" sldId="495"/>
        </pc:sldMkLst>
        <pc:spChg chg="mod">
          <ac:chgData name="Cummins, Peter" userId="3e019fb5-f2e4-456c-8856-6883cde3d59a" providerId="ADAL" clId="{23282703-A95A-420D-94F1-876F24E92BA9}" dt="2025-10-22T23:22:38.875" v="2982"/>
          <ac:spMkLst>
            <pc:docMk/>
            <pc:sldMk cId="3602498010" sldId="495"/>
            <ac:spMk id="2" creationId="{9454D9EA-4F88-E8B6-660E-201711C4D5EB}"/>
          </ac:spMkLst>
        </pc:spChg>
        <pc:spChg chg="add mod">
          <ac:chgData name="Cummins, Peter" userId="3e019fb5-f2e4-456c-8856-6883cde3d59a" providerId="ADAL" clId="{23282703-A95A-420D-94F1-876F24E92BA9}" dt="2025-10-23T13:28:26.879" v="4218"/>
          <ac:spMkLst>
            <pc:docMk/>
            <pc:sldMk cId="3602498010" sldId="495"/>
            <ac:spMk id="5" creationId="{FAC52BF1-5705-43D4-BA01-8C2064BC6AD7}"/>
          </ac:spMkLst>
        </pc:spChg>
        <pc:spChg chg="add mod">
          <ac:chgData name="Cummins, Peter" userId="3e019fb5-f2e4-456c-8856-6883cde3d59a" providerId="ADAL" clId="{23282703-A95A-420D-94F1-876F24E92BA9}" dt="2025-10-23T14:24:23.257" v="4716" actId="108"/>
          <ac:spMkLst>
            <pc:docMk/>
            <pc:sldMk cId="3602498010" sldId="495"/>
            <ac:spMk id="11" creationId="{4B1A63B7-B6DF-7AC9-4AA3-2C91EEF771B2}"/>
          </ac:spMkLst>
        </pc:spChg>
        <pc:picChg chg="add mod">
          <ac:chgData name="Cummins, Peter" userId="3e019fb5-f2e4-456c-8856-6883cde3d59a" providerId="ADAL" clId="{23282703-A95A-420D-94F1-876F24E92BA9}" dt="2025-10-23T14:32:02.778" v="4755"/>
          <ac:picMkLst>
            <pc:docMk/>
            <pc:sldMk cId="3602498010" sldId="495"/>
            <ac:picMk id="6" creationId="{FB8EA6C9-CF0E-FB73-7057-3E62F3CD1070}"/>
          </ac:picMkLst>
        </pc:picChg>
        <pc:extLst>
          <p:ext xmlns:p="http://schemas.openxmlformats.org/presentationml/2006/main" uri="{D6D511B9-2390-475A-947B-AFAB55BFBCF1}">
            <pc226:cmChg xmlns:pc226="http://schemas.microsoft.com/office/powerpoint/2022/06/main/command" chg="mod">
              <pc226:chgData name="Cummins, Peter" userId="3e019fb5-f2e4-456c-8856-6883cde3d59a" providerId="ADAL" clId="{23282703-A95A-420D-94F1-876F24E92BA9}" dt="2025-10-23T13:28:23.992" v="4216" actId="6549"/>
              <pc2:cmMkLst xmlns:pc2="http://schemas.microsoft.com/office/powerpoint/2019/9/main/command">
                <pc:docMk/>
                <pc:sldMk cId="3602498010" sldId="495"/>
                <pc2:cmMk id="{B772F31C-7715-48A1-A8A0-067AD2F08D64}"/>
              </pc2:cmMkLst>
            </pc226:cmChg>
          </p:ext>
        </pc:extLst>
      </pc:sldChg>
      <pc:sldChg chg="addSp delSp modSp add mod">
        <pc:chgData name="Cummins, Peter" userId="3e019fb5-f2e4-456c-8856-6883cde3d59a" providerId="ADAL" clId="{23282703-A95A-420D-94F1-876F24E92BA9}" dt="2025-10-23T13:28:30.542" v="4220"/>
        <pc:sldMkLst>
          <pc:docMk/>
          <pc:sldMk cId="3364768661" sldId="496"/>
        </pc:sldMkLst>
        <pc:spChg chg="mod">
          <ac:chgData name="Cummins, Peter" userId="3e019fb5-f2e4-456c-8856-6883cde3d59a" providerId="ADAL" clId="{23282703-A95A-420D-94F1-876F24E92BA9}" dt="2025-10-22T23:39:30.337" v="3325" actId="20577"/>
          <ac:spMkLst>
            <pc:docMk/>
            <pc:sldMk cId="3364768661" sldId="496"/>
            <ac:spMk id="2" creationId="{6CFAFDC3-5B33-17CD-C8C7-51D6DAB5429E}"/>
          </ac:spMkLst>
        </pc:spChg>
        <pc:spChg chg="add mod">
          <ac:chgData name="Cummins, Peter" userId="3e019fb5-f2e4-456c-8856-6883cde3d59a" providerId="ADAL" clId="{23282703-A95A-420D-94F1-876F24E92BA9}" dt="2025-10-23T13:28:30.542" v="4220"/>
          <ac:spMkLst>
            <pc:docMk/>
            <pc:sldMk cId="3364768661" sldId="496"/>
            <ac:spMk id="3" creationId="{7E068863-CF39-792E-653B-04EB3D51B43B}"/>
          </ac:spMkLst>
        </pc:spChg>
      </pc:sldChg>
      <pc:sldChg chg="addSp delSp modSp new mod">
        <pc:chgData name="Cummins, Peter" userId="3e019fb5-f2e4-456c-8856-6883cde3d59a" providerId="ADAL" clId="{23282703-A95A-420D-94F1-876F24E92BA9}" dt="2025-10-23T14:32:00.153" v="4754"/>
        <pc:sldMkLst>
          <pc:docMk/>
          <pc:sldMk cId="2858412786" sldId="497"/>
        </pc:sldMkLst>
        <pc:spChg chg="mod">
          <ac:chgData name="Cummins, Peter" userId="3e019fb5-f2e4-456c-8856-6883cde3d59a" providerId="ADAL" clId="{23282703-A95A-420D-94F1-876F24E92BA9}" dt="2025-10-22T23:40:32.855" v="3328"/>
          <ac:spMkLst>
            <pc:docMk/>
            <pc:sldMk cId="2858412786" sldId="497"/>
            <ac:spMk id="2" creationId="{ADC1A60C-7CB1-3A02-C493-B5B016E1CC2E}"/>
          </ac:spMkLst>
        </pc:spChg>
        <pc:spChg chg="add mod">
          <ac:chgData name="Cummins, Peter" userId="3e019fb5-f2e4-456c-8856-6883cde3d59a" providerId="ADAL" clId="{23282703-A95A-420D-94F1-876F24E92BA9}" dt="2025-10-23T13:28:38.577" v="4224"/>
          <ac:spMkLst>
            <pc:docMk/>
            <pc:sldMk cId="2858412786" sldId="497"/>
            <ac:spMk id="5" creationId="{B3B49081-FE33-DBB2-022E-729DE49ECFB7}"/>
          </ac:spMkLst>
        </pc:spChg>
        <pc:spChg chg="add mod">
          <ac:chgData name="Cummins, Peter" userId="3e019fb5-f2e4-456c-8856-6883cde3d59a" providerId="ADAL" clId="{23282703-A95A-420D-94F1-876F24E92BA9}" dt="2025-10-23T14:22:22.603" v="4706" actId="20577"/>
          <ac:spMkLst>
            <pc:docMk/>
            <pc:sldMk cId="2858412786" sldId="497"/>
            <ac:spMk id="6" creationId="{7B7EF5CC-C72D-8A65-9D56-A091C16840CD}"/>
          </ac:spMkLst>
        </pc:spChg>
        <pc:picChg chg="add mod">
          <ac:chgData name="Cummins, Peter" userId="3e019fb5-f2e4-456c-8856-6883cde3d59a" providerId="ADAL" clId="{23282703-A95A-420D-94F1-876F24E92BA9}" dt="2025-10-23T14:32:00.153" v="4754"/>
          <ac:picMkLst>
            <pc:docMk/>
            <pc:sldMk cId="2858412786" sldId="497"/>
            <ac:picMk id="7" creationId="{ECACF24C-7D0A-D7A2-52E5-EDB0CC3104DF}"/>
          </ac:picMkLst>
        </pc:picChg>
      </pc:sldChg>
      <pc:sldChg chg="modSp add mod">
        <pc:chgData name="Cummins, Peter" userId="3e019fb5-f2e4-456c-8856-6883cde3d59a" providerId="ADAL" clId="{23282703-A95A-420D-94F1-876F24E92BA9}" dt="2025-10-23T15:43:01.596" v="5176" actId="20577"/>
        <pc:sldMkLst>
          <pc:docMk/>
          <pc:sldMk cId="1036692141" sldId="498"/>
        </pc:sldMkLst>
        <pc:spChg chg="mod">
          <ac:chgData name="Cummins, Peter" userId="3e019fb5-f2e4-456c-8856-6883cde3d59a" providerId="ADAL" clId="{23282703-A95A-420D-94F1-876F24E92BA9}" dt="2025-10-23T15:43:01.596" v="5176" actId="20577"/>
          <ac:spMkLst>
            <pc:docMk/>
            <pc:sldMk cId="1036692141" sldId="498"/>
            <ac:spMk id="2" creationId="{DF4BC0E2-1A98-7817-E882-412E45859D43}"/>
          </ac:spMkLst>
        </pc:spChg>
      </pc:sldChg>
      <pc:sldChg chg="addSp delSp modSp add mod">
        <pc:chgData name="Cummins, Peter" userId="3e019fb5-f2e4-456c-8856-6883cde3d59a" providerId="ADAL" clId="{23282703-A95A-420D-94F1-876F24E92BA9}" dt="2025-10-23T20:25:04.581" v="7263" actId="20577"/>
        <pc:sldMkLst>
          <pc:docMk/>
          <pc:sldMk cId="2886789155" sldId="499"/>
        </pc:sldMkLst>
        <pc:spChg chg="mod">
          <ac:chgData name="Cummins, Peter" userId="3e019fb5-f2e4-456c-8856-6883cde3d59a" providerId="ADAL" clId="{23282703-A95A-420D-94F1-876F24E92BA9}" dt="2025-10-23T15:36:20.143" v="5129" actId="6549"/>
          <ac:spMkLst>
            <pc:docMk/>
            <pc:sldMk cId="2886789155" sldId="499"/>
            <ac:spMk id="2" creationId="{4FC00F41-EE24-D55D-BFE4-FEA342E61EEA}"/>
          </ac:spMkLst>
        </pc:spChg>
        <pc:spChg chg="mod">
          <ac:chgData name="Cummins, Peter" userId="3e019fb5-f2e4-456c-8856-6883cde3d59a" providerId="ADAL" clId="{23282703-A95A-420D-94F1-876F24E92BA9}" dt="2025-10-23T20:25:04.581" v="7263" actId="20577"/>
          <ac:spMkLst>
            <pc:docMk/>
            <pc:sldMk cId="2886789155" sldId="499"/>
            <ac:spMk id="6" creationId="{2D235081-8963-5C4E-4268-BC5B99C0AB7D}"/>
          </ac:spMkLst>
        </pc:spChg>
        <pc:spChg chg="add mod">
          <ac:chgData name="Cummins, Peter" userId="3e019fb5-f2e4-456c-8856-6883cde3d59a" providerId="ADAL" clId="{23282703-A95A-420D-94F1-876F24E92BA9}" dt="2025-10-23T15:42:04.846" v="5131"/>
          <ac:spMkLst>
            <pc:docMk/>
            <pc:sldMk cId="2886789155" sldId="499"/>
            <ac:spMk id="9" creationId="{BE99A5B4-3B95-87A2-434A-D25356D4BDBF}"/>
          </ac:spMkLst>
        </pc:spChg>
        <pc:spChg chg="add mod">
          <ac:chgData name="Cummins, Peter" userId="3e019fb5-f2e4-456c-8856-6883cde3d59a" providerId="ADAL" clId="{23282703-A95A-420D-94F1-876F24E92BA9}" dt="2025-10-23T15:42:19.329" v="5151" actId="20577"/>
          <ac:spMkLst>
            <pc:docMk/>
            <pc:sldMk cId="2886789155" sldId="499"/>
            <ac:spMk id="10" creationId="{566CB545-5C30-603D-5D94-50B6061F7C11}"/>
          </ac:spMkLst>
        </pc:spChg>
      </pc:sldChg>
      <pc:sldChg chg="modSp add mod">
        <pc:chgData name="Cummins, Peter" userId="3e019fb5-f2e4-456c-8856-6883cde3d59a" providerId="ADAL" clId="{23282703-A95A-420D-94F1-876F24E92BA9}" dt="2025-10-23T15:59:36.776" v="5413" actId="113"/>
        <pc:sldMkLst>
          <pc:docMk/>
          <pc:sldMk cId="3862209142" sldId="500"/>
        </pc:sldMkLst>
        <pc:spChg chg="mod">
          <ac:chgData name="Cummins, Peter" userId="3e019fb5-f2e4-456c-8856-6883cde3d59a" providerId="ADAL" clId="{23282703-A95A-420D-94F1-876F24E92BA9}" dt="2025-10-23T15:59:11.493" v="5373" actId="20577"/>
          <ac:spMkLst>
            <pc:docMk/>
            <pc:sldMk cId="3862209142" sldId="500"/>
            <ac:spMk id="2" creationId="{3709AD95-6C6E-1602-E971-16936A471EE3}"/>
          </ac:spMkLst>
        </pc:spChg>
        <pc:spChg chg="mod">
          <ac:chgData name="Cummins, Peter" userId="3e019fb5-f2e4-456c-8856-6883cde3d59a" providerId="ADAL" clId="{23282703-A95A-420D-94F1-876F24E92BA9}" dt="2025-10-23T15:59:36.776" v="5413" actId="113"/>
          <ac:spMkLst>
            <pc:docMk/>
            <pc:sldMk cId="3862209142" sldId="500"/>
            <ac:spMk id="7" creationId="{87A3FB7B-FE38-2E87-EC6D-262498200F91}"/>
          </ac:spMkLst>
        </pc:spChg>
      </pc:sldChg>
      <pc:sldMasterChg chg="delSldLayout">
        <pc:chgData name="Cummins, Peter" userId="3e019fb5-f2e4-456c-8856-6883cde3d59a" providerId="ADAL" clId="{23282703-A95A-420D-94F1-876F24E92BA9}" dt="2025-10-22T21:30:28.519" v="1233" actId="47"/>
        <pc:sldMasterMkLst>
          <pc:docMk/>
          <pc:sldMasterMk cId="2665750333" sldId="2147483829"/>
        </pc:sldMasterMkLst>
        <pc:sldLayoutChg chg="del">
          <pc:chgData name="Cummins, Peter" userId="3e019fb5-f2e4-456c-8856-6883cde3d59a" providerId="ADAL" clId="{23282703-A95A-420D-94F1-876F24E92BA9}" dt="2025-10-22T21:30:28.519" v="1233" actId="47"/>
          <pc:sldLayoutMkLst>
            <pc:docMk/>
            <pc:sldMasterMk cId="2665750333" sldId="2147483829"/>
            <pc:sldLayoutMk cId="1852277447"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5B304A91-4A94-4E69-A3F8-5E1211CC2F55}" type="datetimeFigureOut">
              <a:rPr lang="en-US" smtClean="0">
                <a:latin typeface="Arial" panose="020B0604020202020204" pitchFamily="34" charset="0"/>
              </a:rPr>
              <a:t>10/27/2025</a:t>
            </a:fld>
            <a:endParaRPr lang="en-US">
              <a:latin typeface="Arial" panose="020B0604020202020204" pitchFamily="34" charset="0"/>
            </a:endParaRPr>
          </a:p>
        </p:txBody>
      </p:sp>
      <p:sp>
        <p:nvSpPr>
          <p:cNvPr id="4" name="Footer Placeholder 3"/>
          <p:cNvSpPr>
            <a:spLocks noGrp="1"/>
          </p:cNvSpPr>
          <p:nvPr>
            <p:ph type="ftr" sz="quarter" idx="2"/>
          </p:nvPr>
        </p:nvSpPr>
        <p:spPr>
          <a:xfrm>
            <a:off x="1" y="8685214"/>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Tree>
    <p:extLst>
      <p:ext uri="{BB962C8B-B14F-4D97-AF65-F5344CB8AC3E}">
        <p14:creationId xmlns:p14="http://schemas.microsoft.com/office/powerpoint/2010/main" val="5999037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1B089F8-E7FD-40A2-A1AA-DCE245FC3A78}" type="datetimeFigureOut">
              <a:rPr lang="en-GB" smtClean="0"/>
              <a:pPr/>
              <a:t>27/10/2025</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8685214"/>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4"/>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98D49C3-6639-40F8-82A8-AEF98E89CF71}" type="slidenum">
              <a:rPr lang="en-GB" smtClean="0"/>
              <a:pPr/>
              <a:t>‹#›</a:t>
            </a:fld>
            <a:endParaRPr lang="en-GB"/>
          </a:p>
        </p:txBody>
      </p:sp>
    </p:spTree>
    <p:extLst>
      <p:ext uri="{BB962C8B-B14F-4D97-AF65-F5344CB8AC3E}">
        <p14:creationId xmlns:p14="http://schemas.microsoft.com/office/powerpoint/2010/main" val="3055578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91B84-BC4C-2C57-12DE-2FD3B13D13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017FDB-4715-39AC-AF04-9AAD9579B6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2D8D76-765A-FBB1-18A0-85C10EA7DAEB}"/>
              </a:ext>
            </a:extLst>
          </p:cNvPr>
          <p:cNvSpPr>
            <a:spLocks noGrp="1"/>
          </p:cNvSpPr>
          <p:nvPr>
            <p:ph type="body" idx="1"/>
          </p:nvPr>
        </p:nvSpPr>
        <p:spPr/>
        <p:txBody>
          <a:bodyPr/>
          <a:lstStyle/>
          <a:p>
            <a:pPr marL="228600" indent="-228600">
              <a:buAutoNum type="arabicPeriod"/>
            </a:pPr>
            <a:endParaRPr lang="en-US"/>
          </a:p>
        </p:txBody>
      </p:sp>
      <p:sp>
        <p:nvSpPr>
          <p:cNvPr id="4" name="Slide Number Placeholder 3">
            <a:extLst>
              <a:ext uri="{FF2B5EF4-FFF2-40B4-BE49-F238E27FC236}">
                <a16:creationId xmlns:a16="http://schemas.microsoft.com/office/drawing/2014/main" id="{F1C2487A-6E68-7157-1B17-5F160C29AABB}"/>
              </a:ext>
            </a:extLst>
          </p:cNvPr>
          <p:cNvSpPr>
            <a:spLocks noGrp="1"/>
          </p:cNvSpPr>
          <p:nvPr>
            <p:ph type="sldNum" sz="quarter" idx="5"/>
          </p:nvPr>
        </p:nvSpPr>
        <p:spPr/>
        <p:txBody>
          <a:bodyPr/>
          <a:lstStyle/>
          <a:p>
            <a:fld id="{D98D49C3-6639-40F8-82A8-AEF98E89CF71}" type="slidenum">
              <a:rPr lang="en-GB" smtClean="0"/>
              <a:pPr/>
              <a:t>19</a:t>
            </a:fld>
            <a:endParaRPr lang="en-GB"/>
          </a:p>
        </p:txBody>
      </p:sp>
    </p:spTree>
    <p:extLst>
      <p:ext uri="{BB962C8B-B14F-4D97-AF65-F5344CB8AC3E}">
        <p14:creationId xmlns:p14="http://schemas.microsoft.com/office/powerpoint/2010/main" val="513200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A495A-3B15-8B5E-AC7F-10F2C9E225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EEA81B-2551-5395-7FB8-EDE0071804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A4DFEE-3BD6-CD57-8086-3153590EFCD0}"/>
              </a:ext>
            </a:extLst>
          </p:cNvPr>
          <p:cNvSpPr>
            <a:spLocks noGrp="1"/>
          </p:cNvSpPr>
          <p:nvPr>
            <p:ph type="body" idx="1"/>
          </p:nvPr>
        </p:nvSpPr>
        <p:spPr/>
        <p:txBody>
          <a:bodyPr/>
          <a:lstStyle/>
          <a:p>
            <a:pPr marL="228600" indent="-228600">
              <a:buAutoNum type="arabicPeriod"/>
            </a:pPr>
            <a:endParaRPr lang="en-US"/>
          </a:p>
        </p:txBody>
      </p:sp>
      <p:sp>
        <p:nvSpPr>
          <p:cNvPr id="4" name="Slide Number Placeholder 3">
            <a:extLst>
              <a:ext uri="{FF2B5EF4-FFF2-40B4-BE49-F238E27FC236}">
                <a16:creationId xmlns:a16="http://schemas.microsoft.com/office/drawing/2014/main" id="{45964446-1373-1652-2218-CC58FB3257BD}"/>
              </a:ext>
            </a:extLst>
          </p:cNvPr>
          <p:cNvSpPr>
            <a:spLocks noGrp="1"/>
          </p:cNvSpPr>
          <p:nvPr>
            <p:ph type="sldNum" sz="quarter" idx="5"/>
          </p:nvPr>
        </p:nvSpPr>
        <p:spPr/>
        <p:txBody>
          <a:bodyPr/>
          <a:lstStyle/>
          <a:p>
            <a:fld id="{D98D49C3-6639-40F8-82A8-AEF98E89CF71}" type="slidenum">
              <a:rPr lang="en-GB" smtClean="0"/>
              <a:pPr/>
              <a:t>20</a:t>
            </a:fld>
            <a:endParaRPr lang="en-GB"/>
          </a:p>
        </p:txBody>
      </p:sp>
    </p:spTree>
    <p:extLst>
      <p:ext uri="{BB962C8B-B14F-4D97-AF65-F5344CB8AC3E}">
        <p14:creationId xmlns:p14="http://schemas.microsoft.com/office/powerpoint/2010/main" val="3273659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98D49C3-6639-40F8-82A8-AEF98E89CF71}" type="slidenum">
              <a:rPr lang="en-GB" smtClean="0"/>
              <a:pPr/>
              <a:t>21</a:t>
            </a:fld>
            <a:endParaRPr lang="en-GB"/>
          </a:p>
        </p:txBody>
      </p:sp>
    </p:spTree>
    <p:extLst>
      <p:ext uri="{BB962C8B-B14F-4D97-AF65-F5344CB8AC3E}">
        <p14:creationId xmlns:p14="http://schemas.microsoft.com/office/powerpoint/2010/main" val="85193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Mobiu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DCBE9E-01ED-3E6F-A313-0EC38BD6B5B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904" t="8" r="7"/>
          <a:stretch/>
        </p:blipFill>
        <p:spPr>
          <a:xfrm>
            <a:off x="0" y="539"/>
            <a:ext cx="9143286" cy="6857461"/>
          </a:xfrm>
          <a:prstGeom prst="rect">
            <a:avLst/>
          </a:prstGeom>
        </p:spPr>
      </p:pic>
      <p:pic>
        <p:nvPicPr>
          <p:cNvPr id="12" name="Picture 11">
            <a:extLst>
              <a:ext uri="{FF2B5EF4-FFF2-40B4-BE49-F238E27FC236}">
                <a16:creationId xmlns:a16="http://schemas.microsoft.com/office/drawing/2014/main" id="{05D34923-E097-5769-949D-C83310C91C2A}"/>
              </a:ext>
            </a:extLst>
          </p:cNvPr>
          <p:cNvPicPr>
            <a:picLocks noChangeAspect="1"/>
          </p:cNvPicPr>
          <p:nvPr userDrawn="1"/>
        </p:nvPicPr>
        <p:blipFill>
          <a:blip r:embed="rId3"/>
          <a:srcRect/>
          <a:stretch/>
        </p:blipFill>
        <p:spPr>
          <a:xfrm>
            <a:off x="209004" y="287949"/>
            <a:ext cx="2255498" cy="751666"/>
          </a:xfrm>
          <a:prstGeom prst="rect">
            <a:avLst/>
          </a:prstGeom>
        </p:spPr>
      </p:pic>
      <p:sp>
        <p:nvSpPr>
          <p:cNvPr id="5" name="Rectangle 4">
            <a:extLst>
              <a:ext uri="{FF2B5EF4-FFF2-40B4-BE49-F238E27FC236}">
                <a16:creationId xmlns:a16="http://schemas.microsoft.com/office/drawing/2014/main" id="{8613C571-4D23-BD79-E695-FA78DC5ED09D}"/>
              </a:ext>
            </a:extLst>
          </p:cNvPr>
          <p:cNvSpPr/>
          <p:nvPr userDrawn="1"/>
        </p:nvSpPr>
        <p:spPr>
          <a:xfrm>
            <a:off x="9238520" y="2"/>
            <a:ext cx="1581880" cy="57589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108000" rtlCol="0" anchor="t"/>
          <a:lstStyle/>
          <a:p>
            <a:pPr algn="l"/>
            <a:r>
              <a:rPr lang="en-GB" sz="1100" b="1">
                <a:solidFill>
                  <a:schemeClr val="bg1"/>
                </a:solidFill>
                <a:latin typeface="GT Walsheim LC Light" pitchFamily="2" charset="0"/>
                <a:cs typeface="GT Walsheim LC Light" pitchFamily="2" charset="0"/>
              </a:rPr>
              <a:t>Cover option 1 (without image)</a:t>
            </a:r>
          </a:p>
        </p:txBody>
      </p:sp>
      <p:sp>
        <p:nvSpPr>
          <p:cNvPr id="7" name="Text Placeholder 8">
            <a:extLst>
              <a:ext uri="{FF2B5EF4-FFF2-40B4-BE49-F238E27FC236}">
                <a16:creationId xmlns:a16="http://schemas.microsoft.com/office/drawing/2014/main" id="{A28C0E95-C3EE-FC23-3E7E-DE2FBA22E3B5}"/>
              </a:ext>
            </a:extLst>
          </p:cNvPr>
          <p:cNvSpPr>
            <a:spLocks noGrp="1"/>
          </p:cNvSpPr>
          <p:nvPr>
            <p:ph type="body" sz="quarter" idx="18" hasCustomPrompt="1"/>
          </p:nvPr>
        </p:nvSpPr>
        <p:spPr>
          <a:xfrm>
            <a:off x="381000" y="6222454"/>
            <a:ext cx="4098600" cy="471487"/>
          </a:xfrm>
        </p:spPr>
        <p:txBody>
          <a:bodyPr/>
          <a:lstStyle>
            <a:lvl1pPr marL="0" indent="0">
              <a:spcAft>
                <a:spcPts val="0"/>
              </a:spcAft>
              <a:buNone/>
              <a:defRPr sz="1100" b="0">
                <a:solidFill>
                  <a:schemeClr val="accent3"/>
                </a:solidFill>
                <a:latin typeface="GT Walsheim LC Bold" pitchFamily="2" charset="0"/>
                <a:cs typeface="GT Walsheim LC Bold" pitchFamily="2" charset="0"/>
              </a:defRPr>
            </a:lvl1pPr>
            <a:lvl2pPr>
              <a:defRPr sz="1500" b="0">
                <a:solidFill>
                  <a:schemeClr val="tx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Confidential note </a:t>
            </a:r>
          </a:p>
        </p:txBody>
      </p:sp>
      <p:sp>
        <p:nvSpPr>
          <p:cNvPr id="10" name="Title">
            <a:extLst>
              <a:ext uri="{FF2B5EF4-FFF2-40B4-BE49-F238E27FC236}">
                <a16:creationId xmlns:a16="http://schemas.microsoft.com/office/drawing/2014/main" id="{ECE7BC1E-32D7-369E-7690-B2415DC8A7B1}"/>
              </a:ext>
            </a:extLst>
          </p:cNvPr>
          <p:cNvSpPr>
            <a:spLocks noGrp="1"/>
          </p:cNvSpPr>
          <p:nvPr>
            <p:ph type="title" hasCustomPrompt="1"/>
          </p:nvPr>
        </p:nvSpPr>
        <p:spPr>
          <a:xfrm>
            <a:off x="381002" y="2519426"/>
            <a:ext cx="3774968" cy="984885"/>
          </a:xfrm>
        </p:spPr>
        <p:txBody>
          <a:bodyPr/>
          <a:lstStyle>
            <a:lvl1pPr>
              <a:lnSpc>
                <a:spcPct val="100000"/>
              </a:lnSpc>
              <a:defRPr sz="3200">
                <a:solidFill>
                  <a:schemeClr val="bg1"/>
                </a:solidFill>
                <a:latin typeface="GT Walsheim LC Bold" pitchFamily="2" charset="0"/>
                <a:cs typeface="GT Walsheim LC Bold" pitchFamily="2" charset="0"/>
              </a:defRPr>
            </a:lvl1pPr>
          </a:lstStyle>
          <a:p>
            <a:r>
              <a:rPr lang="en-US"/>
              <a:t>[Project title / client name]</a:t>
            </a:r>
          </a:p>
        </p:txBody>
      </p:sp>
      <p:sp>
        <p:nvSpPr>
          <p:cNvPr id="11" name="Text Placeholder 8">
            <a:extLst>
              <a:ext uri="{FF2B5EF4-FFF2-40B4-BE49-F238E27FC236}">
                <a16:creationId xmlns:a16="http://schemas.microsoft.com/office/drawing/2014/main" id="{791B23DE-6A35-1032-A2E5-1C732A59A3DE}"/>
              </a:ext>
            </a:extLst>
          </p:cNvPr>
          <p:cNvSpPr>
            <a:spLocks noGrp="1"/>
          </p:cNvSpPr>
          <p:nvPr>
            <p:ph type="body" sz="quarter" idx="15" hasCustomPrompt="1"/>
          </p:nvPr>
        </p:nvSpPr>
        <p:spPr>
          <a:xfrm>
            <a:off x="381000" y="3798830"/>
            <a:ext cx="4281486" cy="471487"/>
          </a:xfrm>
        </p:spPr>
        <p:txBody>
          <a:bodyPr/>
          <a:lstStyle>
            <a:lvl1pPr marL="0" indent="0">
              <a:spcAft>
                <a:spcPts val="0"/>
              </a:spcAft>
              <a:buNone/>
              <a:defRPr sz="1500" b="1">
                <a:solidFill>
                  <a:schemeClr val="bg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13" name="Text Placeholder 8">
            <a:extLst>
              <a:ext uri="{FF2B5EF4-FFF2-40B4-BE49-F238E27FC236}">
                <a16:creationId xmlns:a16="http://schemas.microsoft.com/office/drawing/2014/main" id="{81779557-8768-121F-BBFA-075C618C4B74}"/>
              </a:ext>
            </a:extLst>
          </p:cNvPr>
          <p:cNvSpPr>
            <a:spLocks noGrp="1"/>
          </p:cNvSpPr>
          <p:nvPr>
            <p:ph type="body" sz="quarter" idx="16" hasCustomPrompt="1"/>
          </p:nvPr>
        </p:nvSpPr>
        <p:spPr>
          <a:xfrm>
            <a:off x="381000" y="4387302"/>
            <a:ext cx="4281486" cy="287332"/>
          </a:xfrm>
        </p:spPr>
        <p:txBody>
          <a:bodyPr/>
          <a:lstStyle>
            <a:lvl1pPr marL="0" indent="0">
              <a:spcAft>
                <a:spcPts val="0"/>
              </a:spcAft>
              <a:buNone/>
              <a:defRPr sz="1000" b="1">
                <a:solidFill>
                  <a:schemeClr val="bg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Date [Month, year]</a:t>
            </a:r>
          </a:p>
        </p:txBody>
      </p:sp>
    </p:spTree>
    <p:extLst>
      <p:ext uri="{BB962C8B-B14F-4D97-AF65-F5344CB8AC3E}">
        <p14:creationId xmlns:p14="http://schemas.microsoft.com/office/powerpoint/2010/main" val="60675709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p:nvPr>
        </p:nvSpPr>
        <p:spPr>
          <a:xfrm>
            <a:off x="381003" y="1724025"/>
            <a:ext cx="4098925"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p:nvPr>
        </p:nvSpPr>
        <p:spPr>
          <a:xfrm>
            <a:off x="4662491" y="1724025"/>
            <a:ext cx="4098925"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a:extLst>
              <a:ext uri="{FF2B5EF4-FFF2-40B4-BE49-F238E27FC236}">
                <a16:creationId xmlns:a16="http://schemas.microsoft.com/office/drawing/2014/main" id="{9DC912AE-D8D4-F9D8-2A9E-2EDE83277953}"/>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B8C62797-3534-C103-D03E-E6B1B3BAE5CE}"/>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746431710"/>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p:nvPr>
        </p:nvSpPr>
        <p:spPr>
          <a:xfrm>
            <a:off x="4662489" y="0"/>
            <a:ext cx="4481513"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7" name="Text 1"/>
          <p:cNvSpPr>
            <a:spLocks noGrp="1"/>
          </p:cNvSpPr>
          <p:nvPr>
            <p:ph type="body" sz="quarter" idx="12"/>
          </p:nvPr>
        </p:nvSpPr>
        <p:spPr>
          <a:xfrm>
            <a:off x="381001" y="1724029"/>
            <a:ext cx="3568700" cy="422909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2" name="Footer">
            <a:extLst>
              <a:ext uri="{FF2B5EF4-FFF2-40B4-BE49-F238E27FC236}">
                <a16:creationId xmlns:a16="http://schemas.microsoft.com/office/drawing/2014/main" id="{2D4C3BAA-C6CB-AD8D-B331-6095163CAF90}"/>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17871392-36F9-3289-D045-DA9A2E301345}"/>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62099277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381001" y="1724027"/>
            <a:ext cx="3568700" cy="4260848"/>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p:nvPr>
        </p:nvSpPr>
        <p:spPr>
          <a:xfrm>
            <a:off x="4662490" y="1724029"/>
            <a:ext cx="4111397" cy="4509418"/>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2119697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2119697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 name="connsiteX0" fmla="*/ 271224 w 5481863"/>
              <a:gd name="connsiteY0" fmla="*/ 0 h 4509418"/>
              <a:gd name="connsiteX1" fmla="*/ 1672709 w 5481863"/>
              <a:gd name="connsiteY1" fmla="*/ 0 h 4509418"/>
              <a:gd name="connsiteX2" fmla="*/ 3809155 w 5481863"/>
              <a:gd name="connsiteY2" fmla="*/ 0 h 4509418"/>
              <a:gd name="connsiteX3" fmla="*/ 5210640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271224 w 5481863"/>
              <a:gd name="connsiteY14" fmla="*/ 0 h 4509418"/>
              <a:gd name="connsiteX0" fmla="*/ 271224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271224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 name="connsiteX0" fmla="*/ 360871 w 5481863"/>
              <a:gd name="connsiteY0" fmla="*/ 0 h 4509418"/>
              <a:gd name="connsiteX1" fmla="*/ 1672709 w 5481863"/>
              <a:gd name="connsiteY1" fmla="*/ 0 h 4509418"/>
              <a:gd name="connsiteX2" fmla="*/ 3809155 w 5481863"/>
              <a:gd name="connsiteY2" fmla="*/ 0 h 4509418"/>
              <a:gd name="connsiteX3" fmla="*/ 5104623 w 5481863"/>
              <a:gd name="connsiteY3" fmla="*/ 0 h 4509418"/>
              <a:gd name="connsiteX4" fmla="*/ 5481863 w 5481863"/>
              <a:gd name="connsiteY4" fmla="*/ 271223 h 4509418"/>
              <a:gd name="connsiteX5" fmla="*/ 5481863 w 5481863"/>
              <a:gd name="connsiteY5" fmla="*/ 4232517 h 4509418"/>
              <a:gd name="connsiteX6" fmla="*/ 5142486 w 5481863"/>
              <a:gd name="connsiteY6" fmla="*/ 4509418 h 4509418"/>
              <a:gd name="connsiteX7" fmla="*/ 3809161 w 5481863"/>
              <a:gd name="connsiteY7" fmla="*/ 4503739 h 4509418"/>
              <a:gd name="connsiteX8" fmla="*/ 3809155 w 5481863"/>
              <a:gd name="connsiteY8" fmla="*/ 4503739 h 4509418"/>
              <a:gd name="connsiteX9" fmla="*/ 2119697 w 5481863"/>
              <a:gd name="connsiteY9" fmla="*/ 4503738 h 4509418"/>
              <a:gd name="connsiteX10" fmla="*/ 0 w 5481863"/>
              <a:gd name="connsiteY10" fmla="*/ 2883837 h 4509418"/>
              <a:gd name="connsiteX11" fmla="*/ 0 w 5481863"/>
              <a:gd name="connsiteY11" fmla="*/ 2139622 h 4509418"/>
              <a:gd name="connsiteX12" fmla="*/ 1 w 5481863"/>
              <a:gd name="connsiteY12" fmla="*/ 2139604 h 4509418"/>
              <a:gd name="connsiteX13" fmla="*/ 1 w 5481863"/>
              <a:gd name="connsiteY13" fmla="*/ 271223 h 4509418"/>
              <a:gd name="connsiteX14" fmla="*/ 360871 w 5481863"/>
              <a:gd name="connsiteY14" fmla="*/ 0 h 450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9418">
                <a:moveTo>
                  <a:pt x="360871" y="0"/>
                </a:moveTo>
                <a:lnTo>
                  <a:pt x="1672709" y="0"/>
                </a:lnTo>
                <a:lnTo>
                  <a:pt x="3809155" y="0"/>
                </a:lnTo>
                <a:lnTo>
                  <a:pt x="5104623" y="0"/>
                </a:lnTo>
                <a:cubicBezTo>
                  <a:pt x="5290274" y="0"/>
                  <a:pt x="5481863" y="121431"/>
                  <a:pt x="5481863" y="271223"/>
                </a:cubicBezTo>
                <a:lnTo>
                  <a:pt x="5481863" y="4232517"/>
                </a:lnTo>
                <a:cubicBezTo>
                  <a:pt x="5481863" y="4382308"/>
                  <a:pt x="5363996" y="4491488"/>
                  <a:pt x="5142486" y="4509418"/>
                </a:cubicBezTo>
                <a:lnTo>
                  <a:pt x="3809161" y="4503739"/>
                </a:lnTo>
                <a:lnTo>
                  <a:pt x="3809155" y="4503739"/>
                </a:lnTo>
                <a:lnTo>
                  <a:pt x="2119697" y="4503738"/>
                </a:lnTo>
                <a:cubicBezTo>
                  <a:pt x="972404" y="4502540"/>
                  <a:pt x="0" y="3778484"/>
                  <a:pt x="0" y="2883837"/>
                </a:cubicBezTo>
                <a:lnTo>
                  <a:pt x="0" y="2139622"/>
                </a:lnTo>
                <a:cubicBezTo>
                  <a:pt x="0" y="2139617"/>
                  <a:pt x="1" y="2139610"/>
                  <a:pt x="1" y="2139604"/>
                </a:cubicBezTo>
                <a:lnTo>
                  <a:pt x="1" y="271223"/>
                </a:lnTo>
                <a:cubicBezTo>
                  <a:pt x="1" y="121431"/>
                  <a:pt x="181196" y="0"/>
                  <a:pt x="360871"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2" name="Footer">
            <a:extLst>
              <a:ext uri="{FF2B5EF4-FFF2-40B4-BE49-F238E27FC236}">
                <a16:creationId xmlns:a16="http://schemas.microsoft.com/office/drawing/2014/main" id="{AE8E3862-4D42-4AD3-64CE-11F934E5481B}"/>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042A00D2-F73A-C17A-D3C8-6A13FEF05AC6}"/>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1004719149"/>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mobius">
    <p:spTree>
      <p:nvGrpSpPr>
        <p:cNvPr id="1" name=""/>
        <p:cNvGrpSpPr/>
        <p:nvPr/>
      </p:nvGrpSpPr>
      <p:grpSpPr>
        <a:xfrm>
          <a:off x="0" y="0"/>
          <a:ext cx="0" cy="0"/>
          <a:chOff x="0" y="0"/>
          <a:chExt cx="0" cy="0"/>
        </a:xfrm>
      </p:grpSpPr>
      <p:pic>
        <p:nvPicPr>
          <p:cNvPr id="4" name="Picture 3" descr="A picture containing sketch, circle, drawing&#10;&#10;Description automatically generated">
            <a:extLst>
              <a:ext uri="{FF2B5EF4-FFF2-40B4-BE49-F238E27FC236}">
                <a16:creationId xmlns:a16="http://schemas.microsoft.com/office/drawing/2014/main" id="{31632C40-0589-DDE3-B46A-2BDD276AFA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4961227" y="0"/>
            <a:ext cx="4182773" cy="6858000"/>
          </a:xfrm>
          <a:prstGeom prst="rect">
            <a:avLst/>
          </a:prstGeom>
        </p:spPr>
      </p:pic>
      <p:sp>
        <p:nvSpPr>
          <p:cNvPr id="7" name="Text 1"/>
          <p:cNvSpPr>
            <a:spLocks noGrp="1"/>
          </p:cNvSpPr>
          <p:nvPr>
            <p:ph type="body" sz="quarter" idx="12"/>
          </p:nvPr>
        </p:nvSpPr>
        <p:spPr>
          <a:xfrm>
            <a:off x="381001" y="1724027"/>
            <a:ext cx="3568700" cy="4260848"/>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2" name="Footer">
            <a:extLst>
              <a:ext uri="{FF2B5EF4-FFF2-40B4-BE49-F238E27FC236}">
                <a16:creationId xmlns:a16="http://schemas.microsoft.com/office/drawing/2014/main" id="{AE8E3862-4D42-4AD3-64CE-11F934E5481B}"/>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042A00D2-F73A-C17A-D3C8-6A13FEF05AC6}"/>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1056702262"/>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phics with bottom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E0FDD-B437-F881-D452-81BC94334A63}"/>
              </a:ext>
            </a:extLst>
          </p:cNvPr>
          <p:cNvSpPr/>
          <p:nvPr userDrawn="1"/>
        </p:nvSpPr>
        <p:spPr>
          <a:xfrm>
            <a:off x="0" y="4522788"/>
            <a:ext cx="9144000" cy="2335212"/>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3" name="Title"/>
          <p:cNvSpPr>
            <a:spLocks noGrp="1"/>
          </p:cNvSpPr>
          <p:nvPr>
            <p:ph type="title"/>
          </p:nvPr>
        </p:nvSpPr>
        <p:spPr/>
        <p:txBody>
          <a:bodyPr/>
          <a:lstStyle/>
          <a:p>
            <a:r>
              <a:rPr lang="en-US"/>
              <a:t>Click to edit Master title style</a:t>
            </a:r>
          </a:p>
        </p:txBody>
      </p:sp>
      <p:sp>
        <p:nvSpPr>
          <p:cNvPr id="2" name="Footer">
            <a:extLst>
              <a:ext uri="{FF2B5EF4-FFF2-40B4-BE49-F238E27FC236}">
                <a16:creationId xmlns:a16="http://schemas.microsoft.com/office/drawing/2014/main" id="{BDE4899C-2756-68DA-B05D-C57DB5E9EDB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1A836AB8-491B-8363-59C7-4A45CD13D2F1}"/>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cxnSp>
        <p:nvCxnSpPr>
          <p:cNvPr id="5" name="Straight Connector 4">
            <a:extLst>
              <a:ext uri="{FF2B5EF4-FFF2-40B4-BE49-F238E27FC236}">
                <a16:creationId xmlns:a16="http://schemas.microsoft.com/office/drawing/2014/main" id="{9D41AE1F-0EE7-9DAB-6B22-FAE24B2A372C}"/>
              </a:ext>
            </a:extLst>
          </p:cNvPr>
          <p:cNvCxnSpPr>
            <a:cxnSpLocks/>
          </p:cNvCxnSpPr>
          <p:nvPr userDrawn="1"/>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7" name="Text 1">
            <a:extLst>
              <a:ext uri="{FF2B5EF4-FFF2-40B4-BE49-F238E27FC236}">
                <a16:creationId xmlns:a16="http://schemas.microsoft.com/office/drawing/2014/main" id="{F4CB36D6-9373-0965-6AF1-01A85553798F}"/>
              </a:ext>
            </a:extLst>
          </p:cNvPr>
          <p:cNvSpPr>
            <a:spLocks noGrp="1"/>
          </p:cNvSpPr>
          <p:nvPr>
            <p:ph type="body" sz="quarter" idx="12"/>
          </p:nvPr>
        </p:nvSpPr>
        <p:spPr>
          <a:xfrm>
            <a:off x="381001" y="4767263"/>
            <a:ext cx="2671762" cy="1217612"/>
          </a:xfrm>
        </p:spPr>
        <p:txBody>
          <a:bodyPr wrap="square">
            <a:no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1">
            <a:extLst>
              <a:ext uri="{FF2B5EF4-FFF2-40B4-BE49-F238E27FC236}">
                <a16:creationId xmlns:a16="http://schemas.microsoft.com/office/drawing/2014/main" id="{557DD85A-CDEE-58D6-5EBC-3A3C75A92F8F}"/>
              </a:ext>
            </a:extLst>
          </p:cNvPr>
          <p:cNvSpPr>
            <a:spLocks noGrp="1"/>
          </p:cNvSpPr>
          <p:nvPr>
            <p:ph type="body" sz="quarter" idx="13"/>
          </p:nvPr>
        </p:nvSpPr>
        <p:spPr>
          <a:xfrm>
            <a:off x="3239242" y="4767263"/>
            <a:ext cx="2671762" cy="1217612"/>
          </a:xfrm>
        </p:spPr>
        <p:txBody>
          <a:bodyPr wrap="square">
            <a:no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1">
            <a:extLst>
              <a:ext uri="{FF2B5EF4-FFF2-40B4-BE49-F238E27FC236}">
                <a16:creationId xmlns:a16="http://schemas.microsoft.com/office/drawing/2014/main" id="{3D3EDB72-BF52-9237-0156-1F00333F38C4}"/>
              </a:ext>
            </a:extLst>
          </p:cNvPr>
          <p:cNvSpPr>
            <a:spLocks noGrp="1"/>
          </p:cNvSpPr>
          <p:nvPr>
            <p:ph type="body" sz="quarter" idx="14"/>
          </p:nvPr>
        </p:nvSpPr>
        <p:spPr>
          <a:xfrm>
            <a:off x="6090067" y="4767263"/>
            <a:ext cx="2671762" cy="1217612"/>
          </a:xfrm>
        </p:spPr>
        <p:txBody>
          <a:bodyPr wrap="square">
            <a:no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759627"/>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phics with right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E0FDD-B437-F881-D452-81BC94334A63}"/>
              </a:ext>
            </a:extLst>
          </p:cNvPr>
          <p:cNvSpPr/>
          <p:nvPr userDrawn="1"/>
        </p:nvSpPr>
        <p:spPr>
          <a:xfrm>
            <a:off x="6089650" y="0"/>
            <a:ext cx="3054350" cy="685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3" name="Title"/>
          <p:cNvSpPr>
            <a:spLocks noGrp="1"/>
          </p:cNvSpPr>
          <p:nvPr>
            <p:ph type="title"/>
          </p:nvPr>
        </p:nvSpPr>
        <p:spPr>
          <a:xfrm>
            <a:off x="381006" y="508005"/>
            <a:ext cx="5527670" cy="346249"/>
          </a:xfrm>
        </p:spPr>
        <p:txBody>
          <a:bodyPr/>
          <a:lstStyle/>
          <a:p>
            <a:r>
              <a:rPr lang="en-US"/>
              <a:t>Click to edit Master title style</a:t>
            </a:r>
          </a:p>
        </p:txBody>
      </p:sp>
      <p:sp>
        <p:nvSpPr>
          <p:cNvPr id="2" name="Footer">
            <a:extLst>
              <a:ext uri="{FF2B5EF4-FFF2-40B4-BE49-F238E27FC236}">
                <a16:creationId xmlns:a16="http://schemas.microsoft.com/office/drawing/2014/main" id="{BDE4899C-2756-68DA-B05D-C57DB5E9EDB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1A836AB8-491B-8363-59C7-4A45CD13D2F1}"/>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cxnSp>
        <p:nvCxnSpPr>
          <p:cNvPr id="5" name="Straight Connector 4">
            <a:extLst>
              <a:ext uri="{FF2B5EF4-FFF2-40B4-BE49-F238E27FC236}">
                <a16:creationId xmlns:a16="http://schemas.microsoft.com/office/drawing/2014/main" id="{9D41AE1F-0EE7-9DAB-6B22-FAE24B2A372C}"/>
              </a:ext>
            </a:extLst>
          </p:cNvPr>
          <p:cNvCxnSpPr>
            <a:cxnSpLocks/>
          </p:cNvCxnSpPr>
          <p:nvPr userDrawn="1"/>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7" name="Text 1">
            <a:extLst>
              <a:ext uri="{FF2B5EF4-FFF2-40B4-BE49-F238E27FC236}">
                <a16:creationId xmlns:a16="http://schemas.microsoft.com/office/drawing/2014/main" id="{F4CB36D6-9373-0965-6AF1-01A85553798F}"/>
              </a:ext>
            </a:extLst>
          </p:cNvPr>
          <p:cNvSpPr>
            <a:spLocks noGrp="1"/>
          </p:cNvSpPr>
          <p:nvPr>
            <p:ph type="body" sz="quarter" idx="12"/>
          </p:nvPr>
        </p:nvSpPr>
        <p:spPr>
          <a:xfrm>
            <a:off x="6453894" y="1479550"/>
            <a:ext cx="2309106" cy="2070100"/>
          </a:xfrm>
        </p:spPr>
        <p:txBody>
          <a:bodyPr wrap="square">
            <a:no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181559"/>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194303" y="1724030"/>
            <a:ext cx="3568700" cy="2049689"/>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5194300" y="3914779"/>
            <a:ext cx="3568700" cy="2070101"/>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p:nvPr>
        </p:nvSpPr>
        <p:spPr>
          <a:xfrm>
            <a:off x="381003" y="1724029"/>
            <a:ext cx="4098925" cy="2049689"/>
          </a:xfrm>
        </p:spPr>
        <p:txBody>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2">
            <a:extLst>
              <a:ext uri="{FF2B5EF4-FFF2-40B4-BE49-F238E27FC236}">
                <a16:creationId xmlns:a16="http://schemas.microsoft.com/office/drawing/2014/main" id="{3DE77AFD-D15F-7A2E-4ED6-DD4C7502E1D0}"/>
              </a:ext>
            </a:extLst>
          </p:cNvPr>
          <p:cNvSpPr>
            <a:spLocks noGrp="1"/>
          </p:cNvSpPr>
          <p:nvPr>
            <p:ph sz="quarter" idx="17"/>
          </p:nvPr>
        </p:nvSpPr>
        <p:spPr>
          <a:xfrm>
            <a:off x="381003" y="3914779"/>
            <a:ext cx="4098925" cy="2070101"/>
          </a:xfrm>
        </p:spPr>
        <p:txBody>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a:extLst>
              <a:ext uri="{FF2B5EF4-FFF2-40B4-BE49-F238E27FC236}">
                <a16:creationId xmlns:a16="http://schemas.microsoft.com/office/drawing/2014/main" id="{499EAE6E-65DC-8D7E-08C8-F46299F182FE}"/>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10" name="Slide Number">
            <a:extLst>
              <a:ext uri="{FF2B5EF4-FFF2-40B4-BE49-F238E27FC236}">
                <a16:creationId xmlns:a16="http://schemas.microsoft.com/office/drawing/2014/main" id="{5AEAD50E-3070-4D96-A9BF-E2A85CF7357F}"/>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3290826337"/>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p:nvPr>
        </p:nvSpPr>
        <p:spPr>
          <a:xfrm>
            <a:off x="381000" y="1724030"/>
            <a:ext cx="8382000" cy="1978025"/>
          </a:xfrm>
        </p:spPr>
        <p:txBody>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p:nvPr>
        </p:nvSpPr>
        <p:spPr>
          <a:xfrm>
            <a:off x="381003" y="3914775"/>
            <a:ext cx="4098925" cy="2070100"/>
          </a:xfrm>
        </p:spPr>
        <p:txBody>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p:nvPr>
        </p:nvSpPr>
        <p:spPr>
          <a:xfrm>
            <a:off x="4664080" y="3914775"/>
            <a:ext cx="4098925" cy="2070100"/>
          </a:xfrm>
        </p:spPr>
        <p:txBody>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a:extLst>
              <a:ext uri="{FF2B5EF4-FFF2-40B4-BE49-F238E27FC236}">
                <a16:creationId xmlns:a16="http://schemas.microsoft.com/office/drawing/2014/main" id="{A130BE08-931C-1E69-E1A0-E5B6E4546B71}"/>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7" name="Slide Number">
            <a:extLst>
              <a:ext uri="{FF2B5EF4-FFF2-40B4-BE49-F238E27FC236}">
                <a16:creationId xmlns:a16="http://schemas.microsoft.com/office/drawing/2014/main" id="{A6AB29DC-1E83-EFD7-FFC1-7DC1A35B9C31}"/>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3171531741"/>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381003" y="1724025"/>
            <a:ext cx="2671763" cy="4260849"/>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3236121" y="1724025"/>
            <a:ext cx="2671763" cy="4260849"/>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p:nvPr>
        </p:nvSpPr>
        <p:spPr>
          <a:xfrm>
            <a:off x="6091240" y="1724025"/>
            <a:ext cx="2671763" cy="4260849"/>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a:extLst>
              <a:ext uri="{FF2B5EF4-FFF2-40B4-BE49-F238E27FC236}">
                <a16:creationId xmlns:a16="http://schemas.microsoft.com/office/drawing/2014/main" id="{0A19F4D1-0038-29D7-70F4-951C0CCBA234}"/>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9" name="Slide Number">
            <a:extLst>
              <a:ext uri="{FF2B5EF4-FFF2-40B4-BE49-F238E27FC236}">
                <a16:creationId xmlns:a16="http://schemas.microsoft.com/office/drawing/2014/main" id="{ED0AEFD5-82E9-A0F6-A2F3-FD1279D3F406}"/>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3833436255"/>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3235328" y="1724025"/>
            <a:ext cx="2671763" cy="4260849"/>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6090446" y="1724025"/>
            <a:ext cx="2671763" cy="4260849"/>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34F2100D-0589-E637-9D34-885B448A0E2E}"/>
              </a:ext>
            </a:extLst>
          </p:cNvPr>
          <p:cNvSpPr>
            <a:spLocks noGrp="1"/>
          </p:cNvSpPr>
          <p:nvPr>
            <p:ph type="pic" sz="quarter" idx="18"/>
          </p:nvPr>
        </p:nvSpPr>
        <p:spPr>
          <a:xfrm>
            <a:off x="381003" y="1724030"/>
            <a:ext cx="2670970"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
        <p:nvSpPr>
          <p:cNvPr id="2" name="Footer">
            <a:extLst>
              <a:ext uri="{FF2B5EF4-FFF2-40B4-BE49-F238E27FC236}">
                <a16:creationId xmlns:a16="http://schemas.microsoft.com/office/drawing/2014/main" id="{78B05818-4267-94E9-1C32-CBBC6F0C75A0}"/>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8" name="Slide Number">
            <a:extLst>
              <a:ext uri="{FF2B5EF4-FFF2-40B4-BE49-F238E27FC236}">
                <a16:creationId xmlns:a16="http://schemas.microsoft.com/office/drawing/2014/main" id="{8A13E9CD-9823-E3F1-3DEF-E5D016900168}"/>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1555087601"/>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obius Keylin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87C914-B91E-CBAF-1CC5-5029449BB6A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4" y="539"/>
            <a:ext cx="9142572" cy="6856929"/>
          </a:xfrm>
          <a:prstGeom prst="rect">
            <a:avLst/>
          </a:prstGeom>
        </p:spPr>
      </p:pic>
      <p:pic>
        <p:nvPicPr>
          <p:cNvPr id="4" name="Picture 3">
            <a:extLst>
              <a:ext uri="{FF2B5EF4-FFF2-40B4-BE49-F238E27FC236}">
                <a16:creationId xmlns:a16="http://schemas.microsoft.com/office/drawing/2014/main" id="{82EE26F6-8762-9F82-05AA-F602660C98F3}"/>
              </a:ext>
            </a:extLst>
          </p:cNvPr>
          <p:cNvPicPr>
            <a:picLocks noChangeAspect="1"/>
          </p:cNvPicPr>
          <p:nvPr userDrawn="1"/>
        </p:nvPicPr>
        <p:blipFill>
          <a:blip r:embed="rId3"/>
          <a:srcRect/>
          <a:stretch/>
        </p:blipFill>
        <p:spPr>
          <a:xfrm>
            <a:off x="209004" y="292345"/>
            <a:ext cx="2255498" cy="751998"/>
          </a:xfrm>
          <a:prstGeom prst="rect">
            <a:avLst/>
          </a:prstGeom>
        </p:spPr>
      </p:pic>
      <p:sp>
        <p:nvSpPr>
          <p:cNvPr id="8" name="Title">
            <a:extLst>
              <a:ext uri="{FF2B5EF4-FFF2-40B4-BE49-F238E27FC236}">
                <a16:creationId xmlns:a16="http://schemas.microsoft.com/office/drawing/2014/main" id="{CA99AA3D-4878-171C-7B68-D3D4D5F49DD9}"/>
              </a:ext>
            </a:extLst>
          </p:cNvPr>
          <p:cNvSpPr>
            <a:spLocks noGrp="1"/>
          </p:cNvSpPr>
          <p:nvPr>
            <p:ph type="title" hasCustomPrompt="1"/>
          </p:nvPr>
        </p:nvSpPr>
        <p:spPr>
          <a:xfrm>
            <a:off x="381002" y="2519591"/>
            <a:ext cx="3831305" cy="984885"/>
          </a:xfrm>
        </p:spPr>
        <p:txBody>
          <a:bodyPr/>
          <a:lstStyle>
            <a:lvl1pPr>
              <a:lnSpc>
                <a:spcPct val="100000"/>
              </a:lnSpc>
              <a:defRPr sz="3200">
                <a:solidFill>
                  <a:schemeClr val="accent1"/>
                </a:solidFill>
                <a:latin typeface="GT Walsheim LC Bold" pitchFamily="2" charset="0"/>
                <a:cs typeface="GT Walsheim LC Bold" pitchFamily="2" charset="0"/>
              </a:defRPr>
            </a:lvl1pPr>
          </a:lstStyle>
          <a:p>
            <a:r>
              <a:rPr lang="en-US"/>
              <a:t>[Project title / client name]</a:t>
            </a:r>
          </a:p>
        </p:txBody>
      </p:sp>
      <p:sp>
        <p:nvSpPr>
          <p:cNvPr id="13" name="Text Placeholder 8">
            <a:extLst>
              <a:ext uri="{FF2B5EF4-FFF2-40B4-BE49-F238E27FC236}">
                <a16:creationId xmlns:a16="http://schemas.microsoft.com/office/drawing/2014/main" id="{269D8A18-8AFC-53B4-3F95-1E82301F6400}"/>
              </a:ext>
            </a:extLst>
          </p:cNvPr>
          <p:cNvSpPr>
            <a:spLocks noGrp="1"/>
          </p:cNvSpPr>
          <p:nvPr>
            <p:ph type="body" sz="quarter" idx="18" hasCustomPrompt="1"/>
          </p:nvPr>
        </p:nvSpPr>
        <p:spPr>
          <a:xfrm>
            <a:off x="381000" y="6222454"/>
            <a:ext cx="3831305" cy="471487"/>
          </a:xfrm>
        </p:spPr>
        <p:txBody>
          <a:bodyPr/>
          <a:lstStyle>
            <a:lvl1pPr marL="0" indent="0">
              <a:spcAft>
                <a:spcPts val="0"/>
              </a:spcAft>
              <a:buNone/>
              <a:defRPr sz="1100" b="0">
                <a:solidFill>
                  <a:schemeClr val="accent3"/>
                </a:solidFill>
                <a:latin typeface="GT Walsheim LC Bold" pitchFamily="2" charset="0"/>
                <a:cs typeface="GT Walsheim LC Bold" pitchFamily="2" charset="0"/>
              </a:defRPr>
            </a:lvl1pPr>
            <a:lvl2pPr>
              <a:defRPr sz="1500" b="0">
                <a:solidFill>
                  <a:schemeClr val="tx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Confidential note </a:t>
            </a:r>
          </a:p>
        </p:txBody>
      </p:sp>
      <p:sp>
        <p:nvSpPr>
          <p:cNvPr id="2" name="Text Placeholder 8">
            <a:extLst>
              <a:ext uri="{FF2B5EF4-FFF2-40B4-BE49-F238E27FC236}">
                <a16:creationId xmlns:a16="http://schemas.microsoft.com/office/drawing/2014/main" id="{BB7BDD7D-82B4-6C5D-3751-B0F2527A67D6}"/>
              </a:ext>
            </a:extLst>
          </p:cNvPr>
          <p:cNvSpPr>
            <a:spLocks noGrp="1"/>
          </p:cNvSpPr>
          <p:nvPr>
            <p:ph type="body" sz="quarter" idx="15" hasCustomPrompt="1"/>
          </p:nvPr>
        </p:nvSpPr>
        <p:spPr>
          <a:xfrm>
            <a:off x="381000" y="3798830"/>
            <a:ext cx="3831305" cy="471487"/>
          </a:xfrm>
        </p:spPr>
        <p:txBody>
          <a:bodyPr/>
          <a:lstStyle>
            <a:lvl1pPr marL="0" indent="0">
              <a:spcAft>
                <a:spcPts val="0"/>
              </a:spcAft>
              <a:buNone/>
              <a:defRPr sz="1500" b="1">
                <a:solidFill>
                  <a:schemeClr val="tx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3" name="Text Placeholder 8">
            <a:extLst>
              <a:ext uri="{FF2B5EF4-FFF2-40B4-BE49-F238E27FC236}">
                <a16:creationId xmlns:a16="http://schemas.microsoft.com/office/drawing/2014/main" id="{83FD7C49-E42C-9E12-32BE-47722A9A63A0}"/>
              </a:ext>
            </a:extLst>
          </p:cNvPr>
          <p:cNvSpPr>
            <a:spLocks noGrp="1"/>
          </p:cNvSpPr>
          <p:nvPr>
            <p:ph type="body" sz="quarter" idx="16" hasCustomPrompt="1"/>
          </p:nvPr>
        </p:nvSpPr>
        <p:spPr>
          <a:xfrm>
            <a:off x="381000" y="4387302"/>
            <a:ext cx="3831305" cy="287332"/>
          </a:xfrm>
        </p:spPr>
        <p:txBody>
          <a:bodyPr/>
          <a:lstStyle>
            <a:lvl1pPr marL="0" indent="0">
              <a:spcAft>
                <a:spcPts val="0"/>
              </a:spcAft>
              <a:buNone/>
              <a:defRPr sz="1000" b="1">
                <a:solidFill>
                  <a:schemeClr val="accent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Date [Month, year]</a:t>
            </a:r>
          </a:p>
        </p:txBody>
      </p:sp>
      <p:sp>
        <p:nvSpPr>
          <p:cNvPr id="5" name="Rectangle 4">
            <a:extLst>
              <a:ext uri="{FF2B5EF4-FFF2-40B4-BE49-F238E27FC236}">
                <a16:creationId xmlns:a16="http://schemas.microsoft.com/office/drawing/2014/main" id="{0E4D8487-50A2-1749-B3AA-42F25F5A28E4}"/>
              </a:ext>
            </a:extLst>
          </p:cNvPr>
          <p:cNvSpPr/>
          <p:nvPr userDrawn="1"/>
        </p:nvSpPr>
        <p:spPr>
          <a:xfrm>
            <a:off x="9238520" y="2"/>
            <a:ext cx="1581880" cy="57589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108000" rtlCol="0" anchor="t"/>
          <a:lstStyle/>
          <a:p>
            <a:pPr algn="l"/>
            <a:r>
              <a:rPr lang="en-GB" sz="1100" b="1">
                <a:solidFill>
                  <a:schemeClr val="bg1"/>
                </a:solidFill>
                <a:latin typeface="GT Walsheim LC Light" pitchFamily="2" charset="0"/>
                <a:cs typeface="GT Walsheim LC Light" pitchFamily="2" charset="0"/>
              </a:rPr>
              <a:t>Cover option 2 (without image)</a:t>
            </a:r>
          </a:p>
        </p:txBody>
      </p:sp>
    </p:spTree>
    <p:extLst>
      <p:ext uri="{BB962C8B-B14F-4D97-AF65-F5344CB8AC3E}">
        <p14:creationId xmlns:p14="http://schemas.microsoft.com/office/powerpoint/2010/main" val="573579350"/>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pictures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381003" y="4159249"/>
            <a:ext cx="2671763" cy="1825626"/>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3236121" y="4159249"/>
            <a:ext cx="2671763" cy="1825626"/>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p:nvPr>
        </p:nvSpPr>
        <p:spPr>
          <a:xfrm>
            <a:off x="6091240" y="4159249"/>
            <a:ext cx="2671763" cy="1825626"/>
          </a:xfrm>
        </p:spPr>
        <p:txBody>
          <a:bodyPr wrap="square">
            <a:noAutofit/>
          </a:bodyPr>
          <a:lstStyle>
            <a:lvl1pPr>
              <a:defRPr sz="1500"/>
            </a:lvl1pPr>
            <a:lvl2pPr>
              <a:defRPr sz="1350"/>
            </a:lvl2pPr>
            <a:lvl3pPr>
              <a:defRPr sz="135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3D3DB0AB-9BFF-CD61-DB1D-CDEE17051B5E}"/>
              </a:ext>
            </a:extLst>
          </p:cNvPr>
          <p:cNvSpPr>
            <a:spLocks noGrp="1"/>
          </p:cNvSpPr>
          <p:nvPr>
            <p:ph type="pic" sz="quarter" idx="17"/>
          </p:nvPr>
        </p:nvSpPr>
        <p:spPr>
          <a:xfrm>
            <a:off x="381002" y="1724025"/>
            <a:ext cx="2671763" cy="2190750"/>
          </a:xfr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10" name="Picture Placeholder 8">
            <a:extLst>
              <a:ext uri="{FF2B5EF4-FFF2-40B4-BE49-F238E27FC236}">
                <a16:creationId xmlns:a16="http://schemas.microsoft.com/office/drawing/2014/main" id="{1025AE66-BD18-C353-03B1-F027E9D58750}"/>
              </a:ext>
            </a:extLst>
          </p:cNvPr>
          <p:cNvSpPr>
            <a:spLocks noGrp="1"/>
          </p:cNvSpPr>
          <p:nvPr>
            <p:ph type="pic" sz="quarter" idx="18"/>
          </p:nvPr>
        </p:nvSpPr>
        <p:spPr>
          <a:xfrm>
            <a:off x="3235328" y="1724025"/>
            <a:ext cx="2671763" cy="2190750"/>
          </a:xfr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11" name="Picture Placeholder 8">
            <a:extLst>
              <a:ext uri="{FF2B5EF4-FFF2-40B4-BE49-F238E27FC236}">
                <a16:creationId xmlns:a16="http://schemas.microsoft.com/office/drawing/2014/main" id="{C892E4BA-5711-DFCF-4D73-431C6B13084B}"/>
              </a:ext>
            </a:extLst>
          </p:cNvPr>
          <p:cNvSpPr>
            <a:spLocks noGrp="1"/>
          </p:cNvSpPr>
          <p:nvPr>
            <p:ph type="pic" sz="quarter" idx="19"/>
          </p:nvPr>
        </p:nvSpPr>
        <p:spPr>
          <a:xfrm>
            <a:off x="6091240" y="1724025"/>
            <a:ext cx="2671763" cy="2190750"/>
          </a:xfr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8" name="Footer">
            <a:extLst>
              <a:ext uri="{FF2B5EF4-FFF2-40B4-BE49-F238E27FC236}">
                <a16:creationId xmlns:a16="http://schemas.microsoft.com/office/drawing/2014/main" id="{49340FAE-ECBD-32F4-0D08-EFC8005CDAD4}"/>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12" name="Slide Number">
            <a:extLst>
              <a:ext uri="{FF2B5EF4-FFF2-40B4-BE49-F238E27FC236}">
                <a16:creationId xmlns:a16="http://schemas.microsoft.com/office/drawing/2014/main" id="{47A2F801-0A72-DFC4-EFD6-9248038D5B34}"/>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3404460665"/>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381001" y="1724025"/>
            <a:ext cx="1957388" cy="4260849"/>
          </a:xfrm>
        </p:spPr>
        <p:txBody>
          <a:bodyPr wrap="square">
            <a:noAutofit/>
          </a:bodyPr>
          <a:lstStyle>
            <a:lvl1pPr>
              <a:defRPr sz="1350"/>
            </a:lvl1pPr>
            <a:lvl2pPr>
              <a:defRPr sz="1200"/>
            </a:lvl2pPr>
            <a:lvl3pPr>
              <a:defRPr sz="120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2522539" y="1724025"/>
            <a:ext cx="1957388" cy="4260849"/>
          </a:xfrm>
        </p:spPr>
        <p:txBody>
          <a:bodyPr wrap="square">
            <a:noAutofit/>
          </a:bodyPr>
          <a:lstStyle>
            <a:lvl1pPr>
              <a:defRPr sz="1350"/>
            </a:lvl1pPr>
            <a:lvl2pPr>
              <a:defRPr sz="1200"/>
            </a:lvl2pPr>
            <a:lvl3pPr>
              <a:defRPr sz="120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p:nvPr>
        </p:nvSpPr>
        <p:spPr>
          <a:xfrm>
            <a:off x="4664077" y="1724025"/>
            <a:ext cx="1957388" cy="4260849"/>
          </a:xfrm>
        </p:spPr>
        <p:txBody>
          <a:bodyPr wrap="square">
            <a:noAutofit/>
          </a:bodyPr>
          <a:lstStyle>
            <a:lvl1pPr>
              <a:defRPr sz="1350"/>
            </a:lvl1pPr>
            <a:lvl2pPr>
              <a:defRPr sz="1200"/>
            </a:lvl2pPr>
            <a:lvl3pPr>
              <a:defRPr sz="120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3">
            <a:extLst>
              <a:ext uri="{FF2B5EF4-FFF2-40B4-BE49-F238E27FC236}">
                <a16:creationId xmlns:a16="http://schemas.microsoft.com/office/drawing/2014/main" id="{08082B98-B350-34D1-0826-CE1F3BBF7750}"/>
              </a:ext>
            </a:extLst>
          </p:cNvPr>
          <p:cNvSpPr>
            <a:spLocks noGrp="1"/>
          </p:cNvSpPr>
          <p:nvPr>
            <p:ph type="body" sz="quarter" idx="17"/>
          </p:nvPr>
        </p:nvSpPr>
        <p:spPr>
          <a:xfrm>
            <a:off x="6805612" y="1724025"/>
            <a:ext cx="1957388" cy="4260849"/>
          </a:xfrm>
        </p:spPr>
        <p:txBody>
          <a:bodyPr wrap="square">
            <a:noAutofit/>
          </a:bodyPr>
          <a:lstStyle>
            <a:lvl1pPr>
              <a:defRPr sz="1350"/>
            </a:lvl1pPr>
            <a:lvl2pPr>
              <a:defRPr sz="1200"/>
            </a:lvl2pPr>
            <a:lvl3pPr>
              <a:defRPr sz="120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3" name="Footer">
            <a:extLst>
              <a:ext uri="{FF2B5EF4-FFF2-40B4-BE49-F238E27FC236}">
                <a16:creationId xmlns:a16="http://schemas.microsoft.com/office/drawing/2014/main" id="{FF923C7E-AFE3-E7F1-E856-38C77231F010}"/>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10" name="Slide Number">
            <a:extLst>
              <a:ext uri="{FF2B5EF4-FFF2-40B4-BE49-F238E27FC236}">
                <a16:creationId xmlns:a16="http://schemas.microsoft.com/office/drawing/2014/main" id="{CF5FD946-969C-7268-4C8F-48FD3848AFEA}"/>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2356770209"/>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381001" y="1724029"/>
            <a:ext cx="1957388" cy="973139"/>
          </a:xfrm>
          <a:solidFill>
            <a:schemeClr val="bg2"/>
          </a:solidFill>
        </p:spPr>
        <p:txBody>
          <a:bodyPr wrap="square" lIns="108000" tIns="108000" rIns="108000" bIns="108000">
            <a:noAutofit/>
          </a:bodyPr>
          <a:lstStyle>
            <a:lvl1pPr marL="0" indent="0">
              <a:buNone/>
              <a:defRPr sz="1350" b="1"/>
            </a:lvl1pPr>
            <a:lvl2pPr marL="0" indent="0">
              <a:buNone/>
              <a:defRPr sz="1200"/>
            </a:lvl2pPr>
            <a:lvl3pPr marL="214308" indent="-214308">
              <a:buFont typeface="Arial" panose="020B0604020202020204" pitchFamily="34" charset="0"/>
              <a:buChar char="•"/>
              <a:defRPr sz="1200"/>
            </a:lvl3pPr>
            <a:lvl4pPr marL="401231" indent="-201211">
              <a:buFont typeface="Arial" panose="020B0604020202020204" pitchFamily="34" charset="0"/>
              <a:buChar char="–"/>
              <a:defRPr sz="1200"/>
            </a:lvl4pPr>
            <a:lvl5pPr marL="602441" indent="-200020">
              <a:buFont typeface="Arial" panose="020B0604020202020204" pitchFamily="34" charset="0"/>
              <a:buChar char="–"/>
              <a:tabLst/>
              <a:defRPr sz="1200"/>
            </a:lvl5pPr>
          </a:lstStyle>
          <a:p>
            <a:pPr lvl="0"/>
            <a:r>
              <a:rPr lang="en-US"/>
              <a:t>Click to edit Master text styles</a:t>
            </a:r>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p:nvPr>
        </p:nvSpPr>
        <p:spPr>
          <a:xfrm>
            <a:off x="381001" y="2924176"/>
            <a:ext cx="1957388" cy="2816224"/>
          </a:xfrm>
          <a:noFill/>
        </p:spPr>
        <p:txBody>
          <a:bodyPr wrap="square" lIns="0" tIns="0" rIns="0" bIns="0">
            <a:noAutofit/>
          </a:bodyPr>
          <a:lstStyle>
            <a:lvl1pPr marL="0" indent="0">
              <a:buNone/>
              <a:defRPr sz="1200" b="0"/>
            </a:lvl1pPr>
            <a:lvl2pPr marL="214308" indent="-214308">
              <a:buFont typeface="Arial" panose="020B0604020202020204" pitchFamily="34" charset="0"/>
              <a:buChar char="•"/>
              <a:defRPr sz="1050"/>
            </a:lvl2pPr>
            <a:lvl3pPr marL="403612" indent="-205974">
              <a:buFont typeface="Arial" panose="020B0604020202020204" pitchFamily="34" charset="0"/>
              <a:buChar char="–"/>
              <a:defRPr sz="1050"/>
            </a:lvl3pPr>
            <a:lvl4pPr marL="602441" indent="-201211">
              <a:buFont typeface="Arial" panose="020B0604020202020204" pitchFamily="34" charset="0"/>
              <a:buChar char="–"/>
              <a:tabLst/>
              <a:defRPr sz="1050"/>
            </a:lvl4pPr>
            <a:lvl5pPr marL="807224" indent="-200020">
              <a:buFont typeface="Arial" panose="020B0604020202020204" pitchFamily="34" charset="0"/>
              <a:buChar char="–"/>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1">
            <a:extLst>
              <a:ext uri="{FF2B5EF4-FFF2-40B4-BE49-F238E27FC236}">
                <a16:creationId xmlns:a16="http://schemas.microsoft.com/office/drawing/2014/main" id="{F03EDDD8-3FC6-140A-25AF-5B4F8A0544BC}"/>
              </a:ext>
            </a:extLst>
          </p:cNvPr>
          <p:cNvSpPr>
            <a:spLocks noGrp="1"/>
          </p:cNvSpPr>
          <p:nvPr>
            <p:ph type="body" sz="quarter" idx="16"/>
          </p:nvPr>
        </p:nvSpPr>
        <p:spPr>
          <a:xfrm>
            <a:off x="2520079" y="1724029"/>
            <a:ext cx="1957388" cy="973139"/>
          </a:xfrm>
          <a:solidFill>
            <a:schemeClr val="bg2"/>
          </a:solidFill>
        </p:spPr>
        <p:txBody>
          <a:bodyPr wrap="square" lIns="108000" tIns="108000" rIns="108000" bIns="108000">
            <a:noAutofit/>
          </a:bodyPr>
          <a:lstStyle>
            <a:lvl1pPr marL="0" indent="0">
              <a:buNone/>
              <a:defRPr sz="1350" b="1"/>
            </a:lvl1pPr>
            <a:lvl2pPr marL="0" indent="0">
              <a:buNone/>
              <a:defRPr sz="1200"/>
            </a:lvl2pPr>
            <a:lvl3pPr marL="214308" indent="-214308">
              <a:buFont typeface="Arial" panose="020B0604020202020204" pitchFamily="34" charset="0"/>
              <a:buChar char="•"/>
              <a:defRPr sz="1200"/>
            </a:lvl3pPr>
            <a:lvl4pPr marL="401231" indent="-201211">
              <a:buFont typeface="Arial" panose="020B0604020202020204" pitchFamily="34" charset="0"/>
              <a:buChar char="–"/>
              <a:defRPr sz="1200"/>
            </a:lvl4pPr>
            <a:lvl5pPr marL="602441" indent="-200020">
              <a:buFont typeface="Arial" panose="020B0604020202020204" pitchFamily="34" charset="0"/>
              <a:buChar char="–"/>
              <a:tabLst/>
              <a:defRPr sz="1200"/>
            </a:lvl5pPr>
          </a:lstStyle>
          <a:p>
            <a:pPr lvl="0"/>
            <a:r>
              <a:rPr lang="en-US"/>
              <a:t>Click to edit Master text styles</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p:nvPr>
        </p:nvSpPr>
        <p:spPr>
          <a:xfrm>
            <a:off x="2522539" y="2924176"/>
            <a:ext cx="1957388" cy="2816224"/>
          </a:xfrm>
          <a:noFill/>
        </p:spPr>
        <p:txBody>
          <a:bodyPr wrap="square" lIns="0" tIns="0" rIns="0" bIns="0">
            <a:noAutofit/>
          </a:bodyPr>
          <a:lstStyle>
            <a:lvl1pPr marL="0" indent="0">
              <a:buNone/>
              <a:defRPr sz="1200" b="0"/>
            </a:lvl1pPr>
            <a:lvl2pPr marL="214308" indent="-214308">
              <a:buFont typeface="Arial" panose="020B0604020202020204" pitchFamily="34" charset="0"/>
              <a:buChar char="•"/>
              <a:defRPr sz="1050"/>
            </a:lvl2pPr>
            <a:lvl3pPr marL="403612" indent="-205974">
              <a:buFont typeface="Arial" panose="020B0604020202020204" pitchFamily="34" charset="0"/>
              <a:buChar char="–"/>
              <a:defRPr sz="1050"/>
            </a:lvl3pPr>
            <a:lvl4pPr marL="602441" indent="-201211">
              <a:buFont typeface="Arial" panose="020B0604020202020204" pitchFamily="34" charset="0"/>
              <a:buChar char="–"/>
              <a:tabLst/>
              <a:defRPr sz="1050"/>
            </a:lvl4pPr>
            <a:lvl5pPr marL="807224" indent="-200020">
              <a:buFont typeface="Arial" panose="020B0604020202020204" pitchFamily="34" charset="0"/>
              <a:buChar char="–"/>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1">
            <a:extLst>
              <a:ext uri="{FF2B5EF4-FFF2-40B4-BE49-F238E27FC236}">
                <a16:creationId xmlns:a16="http://schemas.microsoft.com/office/drawing/2014/main" id="{E9674224-A689-FF2B-EB7F-B16098C6EC00}"/>
              </a:ext>
            </a:extLst>
          </p:cNvPr>
          <p:cNvSpPr>
            <a:spLocks noGrp="1"/>
          </p:cNvSpPr>
          <p:nvPr>
            <p:ph type="body" sz="quarter" idx="18"/>
          </p:nvPr>
        </p:nvSpPr>
        <p:spPr>
          <a:xfrm>
            <a:off x="4659154" y="1724029"/>
            <a:ext cx="1957388" cy="973139"/>
          </a:xfrm>
          <a:solidFill>
            <a:schemeClr val="bg2"/>
          </a:solidFill>
        </p:spPr>
        <p:txBody>
          <a:bodyPr wrap="square" lIns="108000" tIns="108000" rIns="108000" bIns="108000">
            <a:noAutofit/>
          </a:bodyPr>
          <a:lstStyle>
            <a:lvl1pPr marL="0" indent="0">
              <a:buNone/>
              <a:defRPr sz="1350" b="1"/>
            </a:lvl1pPr>
            <a:lvl2pPr marL="0" indent="0">
              <a:buNone/>
              <a:defRPr sz="1200"/>
            </a:lvl2pPr>
            <a:lvl3pPr marL="214308" indent="-214308">
              <a:buFont typeface="Arial" panose="020B0604020202020204" pitchFamily="34" charset="0"/>
              <a:buChar char="•"/>
              <a:defRPr sz="1200"/>
            </a:lvl3pPr>
            <a:lvl4pPr marL="401231" indent="-201211">
              <a:buFont typeface="Arial" panose="020B0604020202020204" pitchFamily="34" charset="0"/>
              <a:buChar char="–"/>
              <a:defRPr sz="1200"/>
            </a:lvl4pPr>
            <a:lvl5pPr marL="602441" indent="-200020">
              <a:buFont typeface="Arial" panose="020B0604020202020204" pitchFamily="34" charset="0"/>
              <a:buChar char="–"/>
              <a:tabLst/>
              <a:defRPr sz="1200"/>
            </a:lvl5pPr>
          </a:lstStyle>
          <a:p>
            <a:pPr lvl="0"/>
            <a:r>
              <a:rPr lang="en-US"/>
              <a:t>Click to edit Master text styles</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p:nvPr>
        </p:nvSpPr>
        <p:spPr>
          <a:xfrm>
            <a:off x="4664077" y="2924176"/>
            <a:ext cx="1957388" cy="2816224"/>
          </a:xfrm>
          <a:noFill/>
        </p:spPr>
        <p:txBody>
          <a:bodyPr wrap="square" lIns="0" tIns="0" rIns="0" bIns="0">
            <a:noAutofit/>
          </a:bodyPr>
          <a:lstStyle>
            <a:lvl1pPr marL="0" indent="0">
              <a:buNone/>
              <a:defRPr sz="1200" b="0"/>
            </a:lvl1pPr>
            <a:lvl2pPr marL="214308" indent="-214308">
              <a:buFont typeface="Arial" panose="020B0604020202020204" pitchFamily="34" charset="0"/>
              <a:buChar char="•"/>
              <a:defRPr sz="1050"/>
            </a:lvl2pPr>
            <a:lvl3pPr marL="403612" indent="-205974">
              <a:buFont typeface="Arial" panose="020B0604020202020204" pitchFamily="34" charset="0"/>
              <a:buChar char="–"/>
              <a:defRPr sz="1050"/>
            </a:lvl3pPr>
            <a:lvl4pPr marL="602441" indent="-201211">
              <a:buFont typeface="Arial" panose="020B0604020202020204" pitchFamily="34" charset="0"/>
              <a:buChar char="–"/>
              <a:tabLst/>
              <a:defRPr sz="1050"/>
            </a:lvl4pPr>
            <a:lvl5pPr marL="807224" indent="-200020">
              <a:buFont typeface="Arial" panose="020B0604020202020204" pitchFamily="34" charset="0"/>
              <a:buChar char="–"/>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1">
            <a:extLst>
              <a:ext uri="{FF2B5EF4-FFF2-40B4-BE49-F238E27FC236}">
                <a16:creationId xmlns:a16="http://schemas.microsoft.com/office/drawing/2014/main" id="{53A9BFE2-4615-AF28-DAFD-26EA25E009E9}"/>
              </a:ext>
            </a:extLst>
          </p:cNvPr>
          <p:cNvSpPr>
            <a:spLocks noGrp="1"/>
          </p:cNvSpPr>
          <p:nvPr>
            <p:ph type="body" sz="quarter" idx="20"/>
          </p:nvPr>
        </p:nvSpPr>
        <p:spPr>
          <a:xfrm>
            <a:off x="6805615" y="1724029"/>
            <a:ext cx="1957388" cy="973139"/>
          </a:xfrm>
          <a:solidFill>
            <a:schemeClr val="bg2"/>
          </a:solidFill>
        </p:spPr>
        <p:txBody>
          <a:bodyPr wrap="square" lIns="108000" tIns="108000" rIns="108000" bIns="108000">
            <a:noAutofit/>
          </a:bodyPr>
          <a:lstStyle>
            <a:lvl1pPr marL="0" indent="0">
              <a:buNone/>
              <a:defRPr sz="1350" b="1"/>
            </a:lvl1pPr>
            <a:lvl2pPr marL="0" indent="0">
              <a:buNone/>
              <a:defRPr sz="1200"/>
            </a:lvl2pPr>
            <a:lvl3pPr marL="214308" indent="-214308">
              <a:buFont typeface="Arial" panose="020B0604020202020204" pitchFamily="34" charset="0"/>
              <a:buChar char="•"/>
              <a:defRPr sz="1200"/>
            </a:lvl3pPr>
            <a:lvl4pPr marL="401231" indent="-201211">
              <a:buFont typeface="Arial" panose="020B0604020202020204" pitchFamily="34" charset="0"/>
              <a:buChar char="–"/>
              <a:defRPr sz="1200"/>
            </a:lvl4pPr>
            <a:lvl5pPr marL="602441" indent="-200020">
              <a:buFont typeface="Arial" panose="020B0604020202020204" pitchFamily="34" charset="0"/>
              <a:buChar char="–"/>
              <a:tabLst/>
              <a:defRPr sz="1200"/>
            </a:lvl5pPr>
          </a:lstStyle>
          <a:p>
            <a:pPr lvl="0"/>
            <a:r>
              <a:rPr lang="en-US"/>
              <a:t>Click to edit Master text styles</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p:nvPr>
        </p:nvSpPr>
        <p:spPr>
          <a:xfrm>
            <a:off x="6805615" y="2924176"/>
            <a:ext cx="1957388" cy="2816224"/>
          </a:xfrm>
          <a:noFill/>
        </p:spPr>
        <p:txBody>
          <a:bodyPr wrap="square" lIns="0" tIns="0" rIns="0" bIns="0">
            <a:noAutofit/>
          </a:bodyPr>
          <a:lstStyle>
            <a:lvl1pPr marL="0" indent="0">
              <a:buNone/>
              <a:defRPr sz="1200" b="0"/>
            </a:lvl1pPr>
            <a:lvl2pPr marL="214308" indent="-214308">
              <a:buFont typeface="Arial" panose="020B0604020202020204" pitchFamily="34" charset="0"/>
              <a:buChar char="•"/>
              <a:defRPr sz="1050"/>
            </a:lvl2pPr>
            <a:lvl3pPr marL="403612" indent="-205974">
              <a:buFont typeface="Arial" panose="020B0604020202020204" pitchFamily="34" charset="0"/>
              <a:buChar char="–"/>
              <a:defRPr sz="1050"/>
            </a:lvl3pPr>
            <a:lvl4pPr marL="602441" indent="-201211">
              <a:buFont typeface="Arial" panose="020B0604020202020204" pitchFamily="34" charset="0"/>
              <a:buChar char="–"/>
              <a:tabLst/>
              <a:defRPr sz="1050"/>
            </a:lvl4pPr>
            <a:lvl5pPr marL="807224" indent="-200020">
              <a:buFont typeface="Arial" panose="020B0604020202020204" pitchFamily="34" charset="0"/>
              <a:buChar char="–"/>
              <a:tabL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a:extLst>
              <a:ext uri="{FF2B5EF4-FFF2-40B4-BE49-F238E27FC236}">
                <a16:creationId xmlns:a16="http://schemas.microsoft.com/office/drawing/2014/main" id="{6878B5FB-B622-9CD4-7CD7-BAC188DACBE5}"/>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3" name="Slide Number">
            <a:extLst>
              <a:ext uri="{FF2B5EF4-FFF2-40B4-BE49-F238E27FC236}">
                <a16:creationId xmlns:a16="http://schemas.microsoft.com/office/drawing/2014/main" id="{B1A9A1D3-B224-0251-DD44-466334EDE4B2}"/>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2950615798"/>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urple graphic">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BBF18C-6F78-6F99-8EFD-350FE50BF2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4" y="-1"/>
            <a:ext cx="9143286" cy="6857469"/>
          </a:xfrm>
          <a:prstGeom prst="rect">
            <a:avLst/>
          </a:prstGeom>
        </p:spPr>
      </p:pic>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094185" y="2924178"/>
            <a:ext cx="4100116" cy="350930"/>
          </a:xfrm>
        </p:spPr>
        <p:txBody>
          <a:bodyPr/>
          <a:lstStyle>
            <a:lvl1pPr>
              <a:defRPr sz="2700">
                <a:solidFill>
                  <a:schemeClr val="bg1"/>
                </a:solidFill>
              </a:defRPr>
            </a:lvl1pPr>
          </a:lstStyle>
          <a:p>
            <a:r>
              <a:rPr lang="en-US"/>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381002" y="2924180"/>
            <a:ext cx="529829" cy="504825"/>
          </a:xfrm>
        </p:spPr>
        <p:txBody>
          <a:bodyPr/>
          <a:lstStyle>
            <a:lvl1pPr marL="0" indent="0">
              <a:lnSpc>
                <a:spcPts val="2700"/>
              </a:lnSpc>
              <a:buNone/>
              <a:defRPr sz="2400" b="0">
                <a:solidFill>
                  <a:schemeClr val="bg1"/>
                </a:solidFill>
                <a:latin typeface="Arial Black" panose="020B0A04020102020204" pitchFamily="34" charset="0"/>
              </a:defRPr>
            </a:lvl1pPr>
            <a:lvl5pPr>
              <a:defRPr/>
            </a:lvl5pPr>
          </a:lstStyle>
          <a:p>
            <a:pPr lvl="0"/>
            <a:r>
              <a:rPr lang="en-US"/>
              <a:t>00</a:t>
            </a:r>
            <a:endParaRPr lang="en-GB"/>
          </a:p>
        </p:txBody>
      </p:sp>
      <p:sp>
        <p:nvSpPr>
          <p:cNvPr id="2" name="Footer">
            <a:extLst>
              <a:ext uri="{FF2B5EF4-FFF2-40B4-BE49-F238E27FC236}">
                <a16:creationId xmlns:a16="http://schemas.microsoft.com/office/drawing/2014/main" id="{1B3E23AF-9CF9-6EDC-9B32-8240FC6215A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3" name="Slide Number">
            <a:extLst>
              <a:ext uri="{FF2B5EF4-FFF2-40B4-BE49-F238E27FC236}">
                <a16:creationId xmlns:a16="http://schemas.microsoft.com/office/drawing/2014/main" id="{1E8BE4E6-03AB-3135-CFC6-C2D2A66731FE}"/>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4" name="Straight Connector 3">
            <a:extLst>
              <a:ext uri="{FF2B5EF4-FFF2-40B4-BE49-F238E27FC236}">
                <a16:creationId xmlns:a16="http://schemas.microsoft.com/office/drawing/2014/main" id="{0B7BC411-6CA0-22F1-46A3-781141EDF5C8}"/>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6697848"/>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solidFill>
          <a:schemeClr val="accent1"/>
        </a:solidFill>
        <a:effectLst/>
      </p:bgPr>
    </p:bg>
    <p:spTree>
      <p:nvGrpSpPr>
        <p:cNvPr id="1" name=""/>
        <p:cNvGrpSpPr/>
        <p:nvPr/>
      </p:nvGrpSpPr>
      <p:grpSpPr>
        <a:xfrm>
          <a:off x="0" y="0"/>
          <a:ext cx="0" cy="0"/>
          <a:chOff x="0" y="0"/>
          <a:chExt cx="0" cy="0"/>
        </a:xfrm>
      </p:grpSpPr>
      <p:pic>
        <p:nvPicPr>
          <p:cNvPr id="10" name="Picture 9" descr="A picture containing circle, colorfulness, blue, electric blue&#10;&#10;Description automatically generated">
            <a:extLst>
              <a:ext uri="{FF2B5EF4-FFF2-40B4-BE49-F238E27FC236}">
                <a16:creationId xmlns:a16="http://schemas.microsoft.com/office/drawing/2014/main" id="{33833176-4751-9984-C317-A1BF0BC5166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9144001" cy="6858001"/>
          </a:xfrm>
          <a:prstGeom prst="rect">
            <a:avLst/>
          </a:prstGeom>
        </p:spPr>
      </p:pic>
      <p:sp>
        <p:nvSpPr>
          <p:cNvPr id="3" name="Title"/>
          <p:cNvSpPr>
            <a:spLocks noGrp="1"/>
          </p:cNvSpPr>
          <p:nvPr>
            <p:ph type="title" hasCustomPrompt="1"/>
          </p:nvPr>
        </p:nvSpPr>
        <p:spPr>
          <a:xfrm>
            <a:off x="1094185" y="2924178"/>
            <a:ext cx="4100116" cy="350930"/>
          </a:xfrm>
        </p:spPr>
        <p:txBody>
          <a:bodyPr/>
          <a:lstStyle>
            <a:lvl1pPr>
              <a:defRPr sz="2700">
                <a:solidFill>
                  <a:schemeClr val="bg1"/>
                </a:solidFill>
              </a:defRPr>
            </a:lvl1pPr>
          </a:lstStyle>
          <a:p>
            <a:r>
              <a:rPr lang="en-US"/>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381002" y="2924180"/>
            <a:ext cx="529829" cy="504825"/>
          </a:xfrm>
        </p:spPr>
        <p:txBody>
          <a:bodyPr/>
          <a:lstStyle>
            <a:lvl1pPr marL="0" indent="0">
              <a:lnSpc>
                <a:spcPts val="2700"/>
              </a:lnSpc>
              <a:buNone/>
              <a:defRPr sz="2400" b="0">
                <a:solidFill>
                  <a:schemeClr val="bg1"/>
                </a:solidFill>
                <a:latin typeface="Arial Black" panose="020B0A04020102020204" pitchFamily="34" charset="0"/>
              </a:defRPr>
            </a:lvl1pPr>
            <a:lvl5pPr>
              <a:defRPr/>
            </a:lvl5pPr>
          </a:lstStyle>
          <a:p>
            <a:pPr lvl="0"/>
            <a:r>
              <a:rPr lang="en-US"/>
              <a:t>00</a:t>
            </a:r>
            <a:endParaRPr lang="en-GB"/>
          </a:p>
        </p:txBody>
      </p:sp>
      <p:sp>
        <p:nvSpPr>
          <p:cNvPr id="2" name="Footer">
            <a:extLst>
              <a:ext uri="{FF2B5EF4-FFF2-40B4-BE49-F238E27FC236}">
                <a16:creationId xmlns:a16="http://schemas.microsoft.com/office/drawing/2014/main" id="{0BE9095D-D692-24A8-097E-DC49AE7916EC}"/>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7" name="Slide Number">
            <a:extLst>
              <a:ext uri="{FF2B5EF4-FFF2-40B4-BE49-F238E27FC236}">
                <a16:creationId xmlns:a16="http://schemas.microsoft.com/office/drawing/2014/main" id="{87163E7C-D6AA-D3FC-CDA9-C36F250357B5}"/>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4" name="Straight Connector 3">
            <a:extLst>
              <a:ext uri="{FF2B5EF4-FFF2-40B4-BE49-F238E27FC236}">
                <a16:creationId xmlns:a16="http://schemas.microsoft.com/office/drawing/2014/main" id="{151CFCBF-3757-3938-D4B2-E55122E87AA8}"/>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63694"/>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Cor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Title">
            <a:extLst>
              <a:ext uri="{FF2B5EF4-FFF2-40B4-BE49-F238E27FC236}">
                <a16:creationId xmlns:a16="http://schemas.microsoft.com/office/drawing/2014/main" id="{58CAD1EA-858E-1B6D-7CF9-D7C50519EF7C}"/>
              </a:ext>
            </a:extLst>
          </p:cNvPr>
          <p:cNvSpPr>
            <a:spLocks noGrp="1"/>
          </p:cNvSpPr>
          <p:nvPr>
            <p:ph type="title" hasCustomPrompt="1"/>
          </p:nvPr>
        </p:nvSpPr>
        <p:spPr>
          <a:xfrm>
            <a:off x="1094185" y="2924178"/>
            <a:ext cx="4100116" cy="350930"/>
          </a:xfrm>
        </p:spPr>
        <p:txBody>
          <a:bodyPr/>
          <a:lstStyle>
            <a:lvl1pPr>
              <a:defRPr sz="2700">
                <a:solidFill>
                  <a:schemeClr val="bg1"/>
                </a:solidFill>
              </a:defRPr>
            </a:lvl1pPr>
          </a:lstStyle>
          <a:p>
            <a:r>
              <a:rPr lang="en-US"/>
              <a:t>Divider title</a:t>
            </a:r>
          </a:p>
        </p:txBody>
      </p:sp>
      <p:sp>
        <p:nvSpPr>
          <p:cNvPr id="11" name="Text Placeholder 11">
            <a:extLst>
              <a:ext uri="{FF2B5EF4-FFF2-40B4-BE49-F238E27FC236}">
                <a16:creationId xmlns:a16="http://schemas.microsoft.com/office/drawing/2014/main" id="{284BCA8E-2E48-AE99-6F18-D7A8411F708C}"/>
              </a:ext>
            </a:extLst>
          </p:cNvPr>
          <p:cNvSpPr>
            <a:spLocks noGrp="1"/>
          </p:cNvSpPr>
          <p:nvPr>
            <p:ph type="body" sz="quarter" idx="15" hasCustomPrompt="1"/>
          </p:nvPr>
        </p:nvSpPr>
        <p:spPr>
          <a:xfrm>
            <a:off x="381002" y="2924180"/>
            <a:ext cx="529829" cy="504825"/>
          </a:xfrm>
        </p:spPr>
        <p:txBody>
          <a:bodyPr/>
          <a:lstStyle>
            <a:lvl1pPr marL="0" indent="0">
              <a:lnSpc>
                <a:spcPts val="2700"/>
              </a:lnSpc>
              <a:buNone/>
              <a:defRPr sz="2400" b="0">
                <a:solidFill>
                  <a:schemeClr val="bg1"/>
                </a:solidFill>
                <a:latin typeface="Arial Black" panose="020B0A04020102020204" pitchFamily="34" charset="0"/>
              </a:defRPr>
            </a:lvl1pPr>
            <a:lvl5pPr>
              <a:defRPr/>
            </a:lvl5pPr>
          </a:lstStyle>
          <a:p>
            <a:pPr marL="0" marR="0" lvl="0" indent="0" algn="l" defTabSz="552479" rtl="0" eaLnBrk="1" fontAlgn="auto" latinLnBrk="0" hangingPunct="1">
              <a:lnSpc>
                <a:spcPts val="2700"/>
              </a:lnSpc>
              <a:spcBef>
                <a:spcPts val="0"/>
              </a:spcBef>
              <a:spcAft>
                <a:spcPts val="450"/>
              </a:spcAft>
              <a:buClrTx/>
              <a:buSzTx/>
              <a:buFont typeface="Arial" panose="020B0604020202020204" pitchFamily="34" charset="0"/>
              <a:buNone/>
              <a:tabLst/>
              <a:defRPr/>
            </a:pPr>
            <a:r>
              <a:rPr lang="en-US"/>
              <a:t>00</a:t>
            </a:r>
            <a:endParaRPr lang="en-GB"/>
          </a:p>
        </p:txBody>
      </p:sp>
      <p:sp>
        <p:nvSpPr>
          <p:cNvPr id="3" name="Footer">
            <a:extLst>
              <a:ext uri="{FF2B5EF4-FFF2-40B4-BE49-F238E27FC236}">
                <a16:creationId xmlns:a16="http://schemas.microsoft.com/office/drawing/2014/main" id="{5D5B99F9-5933-4C3E-D0FF-F36627EB7C7A}"/>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7" name="Slide Number">
            <a:extLst>
              <a:ext uri="{FF2B5EF4-FFF2-40B4-BE49-F238E27FC236}">
                <a16:creationId xmlns:a16="http://schemas.microsoft.com/office/drawing/2014/main" id="{068E86D9-D80E-3BED-841F-8A4137FB9BC3}"/>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FDB983F9-55A1-AE75-518F-83B4114F037A}"/>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3679841"/>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7" y="-1"/>
            <a:ext cx="9143283" cy="6857463"/>
          </a:xfrm>
          <a:prstGeom prst="rect">
            <a:avLst/>
          </a:prstGeom>
        </p:spPr>
      </p:pic>
      <p:sp>
        <p:nvSpPr>
          <p:cNvPr id="9" name="Title">
            <a:extLst>
              <a:ext uri="{FF2B5EF4-FFF2-40B4-BE49-F238E27FC236}">
                <a16:creationId xmlns:a16="http://schemas.microsoft.com/office/drawing/2014/main" id="{7177015E-1E51-B2B2-CF82-E98AC274249A}"/>
              </a:ext>
            </a:extLst>
          </p:cNvPr>
          <p:cNvSpPr>
            <a:spLocks noGrp="1"/>
          </p:cNvSpPr>
          <p:nvPr>
            <p:ph type="title" hasCustomPrompt="1"/>
          </p:nvPr>
        </p:nvSpPr>
        <p:spPr>
          <a:xfrm>
            <a:off x="1094185" y="2924178"/>
            <a:ext cx="4100116" cy="350930"/>
          </a:xfrm>
        </p:spPr>
        <p:txBody>
          <a:bodyPr/>
          <a:lstStyle>
            <a:lvl1pPr>
              <a:defRPr sz="2700">
                <a:solidFill>
                  <a:schemeClr val="bg1"/>
                </a:solidFill>
              </a:defRPr>
            </a:lvl1pPr>
          </a:lstStyle>
          <a:p>
            <a:r>
              <a:rPr lang="en-US"/>
              <a:t>Divider title</a:t>
            </a:r>
          </a:p>
        </p:txBody>
      </p:sp>
      <p:sp>
        <p:nvSpPr>
          <p:cNvPr id="11" name="Text Placeholder 11">
            <a:extLst>
              <a:ext uri="{FF2B5EF4-FFF2-40B4-BE49-F238E27FC236}">
                <a16:creationId xmlns:a16="http://schemas.microsoft.com/office/drawing/2014/main" id="{63BE8564-9A6A-9796-2775-07E9DE2D390D}"/>
              </a:ext>
            </a:extLst>
          </p:cNvPr>
          <p:cNvSpPr>
            <a:spLocks noGrp="1"/>
          </p:cNvSpPr>
          <p:nvPr>
            <p:ph type="body" sz="quarter" idx="15" hasCustomPrompt="1"/>
          </p:nvPr>
        </p:nvSpPr>
        <p:spPr>
          <a:xfrm>
            <a:off x="381002" y="2924180"/>
            <a:ext cx="529829" cy="504825"/>
          </a:xfrm>
        </p:spPr>
        <p:txBody>
          <a:bodyPr/>
          <a:lstStyle>
            <a:lvl1pPr marL="0" indent="0">
              <a:lnSpc>
                <a:spcPts val="2700"/>
              </a:lnSpc>
              <a:buNone/>
              <a:defRPr sz="2400" b="0">
                <a:solidFill>
                  <a:schemeClr val="bg1"/>
                </a:solidFill>
                <a:latin typeface="Arial Black" panose="020B0A04020102020204" pitchFamily="34" charset="0"/>
              </a:defRPr>
            </a:lvl1pPr>
            <a:lvl5pPr>
              <a:defRPr/>
            </a:lvl5pPr>
          </a:lstStyle>
          <a:p>
            <a:pPr lvl="0"/>
            <a:r>
              <a:rPr lang="en-US"/>
              <a:t>00</a:t>
            </a:r>
            <a:endParaRPr lang="en-GB"/>
          </a:p>
        </p:txBody>
      </p:sp>
      <p:sp>
        <p:nvSpPr>
          <p:cNvPr id="3" name="Footer">
            <a:extLst>
              <a:ext uri="{FF2B5EF4-FFF2-40B4-BE49-F238E27FC236}">
                <a16:creationId xmlns:a16="http://schemas.microsoft.com/office/drawing/2014/main" id="{445EFD0D-4843-466A-FFE0-22ECB5CB8E78}"/>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7" name="Slide Number">
            <a:extLst>
              <a:ext uri="{FF2B5EF4-FFF2-40B4-BE49-F238E27FC236}">
                <a16:creationId xmlns:a16="http://schemas.microsoft.com/office/drawing/2014/main" id="{245E3C8C-E1DA-9072-1AE3-0F89DFE44664}"/>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8381ED57-76D7-049D-D2DF-DB64FE2D79C9}"/>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7265201"/>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Brigh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C3D71C-F3FA-0153-5EBF-C54AB81F73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542"/>
            <a:ext cx="9142572" cy="6856929"/>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Text">
            <a:extLst>
              <a:ext uri="{FF2B5EF4-FFF2-40B4-BE49-F238E27FC236}">
                <a16:creationId xmlns:a16="http://schemas.microsoft.com/office/drawing/2014/main" id="{A25556E1-078A-FDE6-7E78-B92BC9FFAB13}"/>
              </a:ext>
            </a:extLst>
          </p:cNvPr>
          <p:cNvSpPr>
            <a:spLocks noGrp="1"/>
          </p:cNvSpPr>
          <p:nvPr>
            <p:ph type="body" sz="quarter" idx="12" hasCustomPrompt="1"/>
          </p:nvPr>
        </p:nvSpPr>
        <p:spPr>
          <a:xfrm>
            <a:off x="381000" y="1724025"/>
            <a:ext cx="8382000" cy="4260850"/>
          </a:xfrm>
        </p:spPr>
        <p:txBody>
          <a:bodyPr wrap="square">
            <a:noAutofit/>
          </a:bodyPr>
          <a:lstStyle>
            <a:lvl1pPr marL="0" indent="0">
              <a:buFont typeface="Arial" panose="020B0604020202020204" pitchFamily="34" charset="0"/>
              <a:buNone/>
              <a:defRPr>
                <a:solidFill>
                  <a:schemeClr val="bg1"/>
                </a:solidFill>
              </a:defRPr>
            </a:lvl1pPr>
            <a:lvl2pPr marL="201211" indent="-198830">
              <a:buFont typeface="Arial" panose="020B0604020202020204" pitchFamily="34" charset="0"/>
              <a:buChar char="•"/>
              <a:defRPr sz="1800">
                <a:solidFill>
                  <a:schemeClr val="bg1"/>
                </a:solidFill>
              </a:defRPr>
            </a:lvl2pPr>
            <a:lvl3pPr marL="401231" indent="-197639">
              <a:buFont typeface="Arial" panose="020B0604020202020204" pitchFamily="34" charset="0"/>
              <a:buChar char="–"/>
              <a:defRPr>
                <a:solidFill>
                  <a:schemeClr val="bg1"/>
                </a:solidFill>
              </a:defRPr>
            </a:lvl3pPr>
            <a:lvl4pPr marL="602441" indent="-201211">
              <a:buFont typeface="Arial" panose="020B0604020202020204" pitchFamily="34" charset="0"/>
              <a:buChar char="–"/>
              <a:defRPr sz="15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8" name="Footer">
            <a:extLst>
              <a:ext uri="{FF2B5EF4-FFF2-40B4-BE49-F238E27FC236}">
                <a16:creationId xmlns:a16="http://schemas.microsoft.com/office/drawing/2014/main" id="{34816AA0-0260-76CB-3A6A-E83D4EFC3AEC}"/>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9" name="Slide Number">
            <a:extLst>
              <a:ext uri="{FF2B5EF4-FFF2-40B4-BE49-F238E27FC236}">
                <a16:creationId xmlns:a16="http://schemas.microsoft.com/office/drawing/2014/main" id="{5B247EC1-A812-AFB4-0A6B-F4D9A9381ED2}"/>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78BB5B4C-0DA8-1DBB-CFC2-6E05C46F24EC}"/>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4156102"/>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Dark Purpl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14" y="539"/>
            <a:ext cx="9142572" cy="6856929"/>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a:extLst>
              <a:ext uri="{FF2B5EF4-FFF2-40B4-BE49-F238E27FC236}">
                <a16:creationId xmlns:a16="http://schemas.microsoft.com/office/drawing/2014/main" id="{B51B1DA8-B39F-C3E4-AD31-9A395B6F1C59}"/>
              </a:ext>
            </a:extLst>
          </p:cNvPr>
          <p:cNvSpPr>
            <a:spLocks noGrp="1"/>
          </p:cNvSpPr>
          <p:nvPr>
            <p:ph type="body" sz="quarter" idx="12" hasCustomPrompt="1"/>
          </p:nvPr>
        </p:nvSpPr>
        <p:spPr>
          <a:xfrm>
            <a:off x="381000" y="1724025"/>
            <a:ext cx="8382000" cy="4260850"/>
          </a:xfrm>
        </p:spPr>
        <p:txBody>
          <a:bodyPr wrap="square">
            <a:noAutofit/>
          </a:bodyPr>
          <a:lstStyle>
            <a:lvl1pPr marL="0" indent="0">
              <a:buFont typeface="Arial" panose="020B0604020202020204" pitchFamily="34" charset="0"/>
              <a:buNone/>
              <a:defRPr>
                <a:solidFill>
                  <a:schemeClr val="bg1"/>
                </a:solidFill>
              </a:defRPr>
            </a:lvl1pPr>
            <a:lvl2pPr marL="201211" indent="-198830">
              <a:buFont typeface="Arial" panose="020B0604020202020204" pitchFamily="34" charset="0"/>
              <a:buChar char="•"/>
              <a:defRPr sz="1800">
                <a:solidFill>
                  <a:schemeClr val="bg1"/>
                </a:solidFill>
              </a:defRPr>
            </a:lvl2pPr>
            <a:lvl3pPr marL="401231" indent="-197639">
              <a:buFont typeface="Arial" panose="020B0604020202020204" pitchFamily="34" charset="0"/>
              <a:buChar char="–"/>
              <a:defRPr>
                <a:solidFill>
                  <a:schemeClr val="bg1"/>
                </a:solidFill>
              </a:defRPr>
            </a:lvl3pPr>
            <a:lvl4pPr marL="602441" indent="-201211">
              <a:buFont typeface="Arial" panose="020B0604020202020204" pitchFamily="34" charset="0"/>
              <a:buChar char="–"/>
              <a:defRPr sz="15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8" name="Footer">
            <a:extLst>
              <a:ext uri="{FF2B5EF4-FFF2-40B4-BE49-F238E27FC236}">
                <a16:creationId xmlns:a16="http://schemas.microsoft.com/office/drawing/2014/main" id="{31657F8D-7D21-5F8E-C31D-B76D73F732E6}"/>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9" name="Slide Number">
            <a:extLst>
              <a:ext uri="{FF2B5EF4-FFF2-40B4-BE49-F238E27FC236}">
                <a16:creationId xmlns:a16="http://schemas.microsoft.com/office/drawing/2014/main" id="{E2409E05-B23B-3497-A90F-595B28BD1D3C}"/>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83A1CB66-378C-64BA-9BF0-B3132C778567}"/>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3706278"/>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Teal">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17" y="536"/>
            <a:ext cx="9142571" cy="6856928"/>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a:extLst>
              <a:ext uri="{FF2B5EF4-FFF2-40B4-BE49-F238E27FC236}">
                <a16:creationId xmlns:a16="http://schemas.microsoft.com/office/drawing/2014/main" id="{39B90453-3EC0-0463-DF54-0397CEC4F027}"/>
              </a:ext>
            </a:extLst>
          </p:cNvPr>
          <p:cNvSpPr>
            <a:spLocks noGrp="1"/>
          </p:cNvSpPr>
          <p:nvPr>
            <p:ph type="body" sz="quarter" idx="12" hasCustomPrompt="1"/>
          </p:nvPr>
        </p:nvSpPr>
        <p:spPr>
          <a:xfrm>
            <a:off x="381000" y="1724025"/>
            <a:ext cx="8382000" cy="4260850"/>
          </a:xfrm>
        </p:spPr>
        <p:txBody>
          <a:bodyPr wrap="square">
            <a:noAutofit/>
          </a:bodyPr>
          <a:lstStyle>
            <a:lvl1pPr marL="0" indent="0">
              <a:buFont typeface="Arial" panose="020B0604020202020204" pitchFamily="34" charset="0"/>
              <a:buNone/>
              <a:defRPr>
                <a:solidFill>
                  <a:schemeClr val="bg1"/>
                </a:solidFill>
              </a:defRPr>
            </a:lvl1pPr>
            <a:lvl2pPr marL="201211" indent="-198830">
              <a:buFont typeface="Arial" panose="020B0604020202020204" pitchFamily="34" charset="0"/>
              <a:buChar char="•"/>
              <a:defRPr sz="1800">
                <a:solidFill>
                  <a:schemeClr val="bg1"/>
                </a:solidFill>
              </a:defRPr>
            </a:lvl2pPr>
            <a:lvl3pPr marL="401231" indent="-197639">
              <a:buFont typeface="Arial" panose="020B0604020202020204" pitchFamily="34" charset="0"/>
              <a:buChar char="–"/>
              <a:defRPr>
                <a:solidFill>
                  <a:schemeClr val="bg1"/>
                </a:solidFill>
              </a:defRPr>
            </a:lvl3pPr>
            <a:lvl4pPr marL="602441" indent="-201211">
              <a:buFont typeface="Arial" panose="020B0604020202020204" pitchFamily="34" charset="0"/>
              <a:buChar char="–"/>
              <a:defRPr sz="15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8" name="Footer">
            <a:extLst>
              <a:ext uri="{FF2B5EF4-FFF2-40B4-BE49-F238E27FC236}">
                <a16:creationId xmlns:a16="http://schemas.microsoft.com/office/drawing/2014/main" id="{186EF547-EDF8-3F7C-3DDB-B2ED3E33D89B}"/>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9" name="Slide Number">
            <a:extLst>
              <a:ext uri="{FF2B5EF4-FFF2-40B4-BE49-F238E27FC236}">
                <a16:creationId xmlns:a16="http://schemas.microsoft.com/office/drawing/2014/main" id="{E3EB0F0A-9007-2602-1AD4-0FC91E72549B}"/>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6C3F4156-C64F-D0AC-A3BF-B9C7B569D847}"/>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2044148"/>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Image Right">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874350D-9CAF-50B6-3C80-A9067DB804E4}"/>
              </a:ext>
            </a:extLst>
          </p:cNvPr>
          <p:cNvSpPr>
            <a:spLocks noGrp="1"/>
          </p:cNvSpPr>
          <p:nvPr>
            <p:ph type="body" sz="quarter" idx="18" hasCustomPrompt="1"/>
          </p:nvPr>
        </p:nvSpPr>
        <p:spPr>
          <a:xfrm>
            <a:off x="381000" y="6222454"/>
            <a:ext cx="3831305" cy="471487"/>
          </a:xfrm>
        </p:spPr>
        <p:txBody>
          <a:bodyPr/>
          <a:lstStyle>
            <a:lvl1pPr marL="0" indent="0">
              <a:spcAft>
                <a:spcPts val="0"/>
              </a:spcAft>
              <a:buNone/>
              <a:defRPr sz="1100" b="0">
                <a:solidFill>
                  <a:schemeClr val="accent3"/>
                </a:solidFill>
                <a:latin typeface="GT Walsheim LC Bold" pitchFamily="2" charset="0"/>
                <a:cs typeface="GT Walsheim LC Bold" pitchFamily="2" charset="0"/>
              </a:defRPr>
            </a:lvl1pPr>
            <a:lvl2pPr>
              <a:defRPr sz="1500" b="0">
                <a:solidFill>
                  <a:schemeClr val="tx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Confidential note </a:t>
            </a:r>
          </a:p>
        </p:txBody>
      </p:sp>
      <p:sp>
        <p:nvSpPr>
          <p:cNvPr id="12" name="Rectangle 11">
            <a:extLst>
              <a:ext uri="{FF2B5EF4-FFF2-40B4-BE49-F238E27FC236}">
                <a16:creationId xmlns:a16="http://schemas.microsoft.com/office/drawing/2014/main" id="{6ECBF427-8803-8F71-4FD1-CBFF094FA180}"/>
              </a:ext>
            </a:extLst>
          </p:cNvPr>
          <p:cNvSpPr/>
          <p:nvPr userDrawn="1"/>
        </p:nvSpPr>
        <p:spPr>
          <a:xfrm>
            <a:off x="9238520" y="2"/>
            <a:ext cx="1581880" cy="188155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108000" rtlCol="0" anchor="t"/>
          <a:lstStyle/>
          <a:p>
            <a:pPr algn="l"/>
            <a:r>
              <a:rPr lang="en-GB" sz="1100" b="1">
                <a:solidFill>
                  <a:schemeClr val="bg1"/>
                </a:solidFill>
                <a:latin typeface="GT Walsheim LC Light" pitchFamily="2" charset="0"/>
                <a:cs typeface="GT Walsheim LC Light" pitchFamily="2" charset="0"/>
              </a:rPr>
              <a:t>Cover option 3 </a:t>
            </a:r>
            <a:br>
              <a:rPr lang="en-GB" sz="1100" b="1">
                <a:solidFill>
                  <a:schemeClr val="bg1"/>
                </a:solidFill>
                <a:latin typeface="GT Walsheim LC Light" pitchFamily="2" charset="0"/>
                <a:cs typeface="GT Walsheim LC Light" pitchFamily="2" charset="0"/>
              </a:rPr>
            </a:br>
            <a:r>
              <a:rPr lang="en-GB" sz="1100" b="1">
                <a:solidFill>
                  <a:schemeClr val="bg1"/>
                </a:solidFill>
                <a:latin typeface="GT Walsheim LC Light" pitchFamily="2" charset="0"/>
                <a:cs typeface="GT Walsheim LC Light" pitchFamily="2" charset="0"/>
              </a:rPr>
              <a:t>(with image)</a:t>
            </a:r>
          </a:p>
          <a:p>
            <a:pPr algn="l"/>
            <a:r>
              <a:rPr lang="en-GB" sz="1100">
                <a:solidFill>
                  <a:schemeClr val="bg1"/>
                </a:solidFill>
                <a:latin typeface="GT Walsheim LC Light" pitchFamily="2" charset="0"/>
                <a:cs typeface="GT Walsheim LC Light" pitchFamily="2" charset="0"/>
              </a:rPr>
              <a:t>To change image, right-click slide and go to </a:t>
            </a:r>
            <a:r>
              <a:rPr lang="en-GB" sz="1100" b="1">
                <a:solidFill>
                  <a:schemeClr val="bg1"/>
                </a:solidFill>
                <a:latin typeface="GT Walsheim LC Light" pitchFamily="2" charset="0"/>
                <a:cs typeface="GT Walsheim LC Light" pitchFamily="2" charset="0"/>
              </a:rPr>
              <a:t>Format Background &gt; Picture or texture fill </a:t>
            </a:r>
            <a:r>
              <a:rPr lang="en-GB" sz="1100" b="0">
                <a:solidFill>
                  <a:schemeClr val="bg1"/>
                </a:solidFill>
                <a:latin typeface="GT Walsheim LC Light" pitchFamily="2" charset="0"/>
                <a:cs typeface="GT Walsheim LC Light" pitchFamily="2" charset="0"/>
              </a:rPr>
              <a:t>and use the sidebar to choose your image</a:t>
            </a:r>
            <a:endParaRPr lang="en-GB" sz="1100" b="1">
              <a:solidFill>
                <a:schemeClr val="bg1"/>
              </a:solidFill>
              <a:latin typeface="GT Walsheim LC Light" pitchFamily="2" charset="0"/>
              <a:cs typeface="GT Walsheim LC Light" pitchFamily="2" charset="0"/>
            </a:endParaRPr>
          </a:p>
        </p:txBody>
      </p:sp>
      <p:sp>
        <p:nvSpPr>
          <p:cNvPr id="14" name="Picture Placeholder 5">
            <a:extLst>
              <a:ext uri="{FF2B5EF4-FFF2-40B4-BE49-F238E27FC236}">
                <a16:creationId xmlns:a16="http://schemas.microsoft.com/office/drawing/2014/main" id="{AB4017F5-3F90-4EC9-98F2-10AD6C8635C3}"/>
              </a:ext>
            </a:extLst>
          </p:cNvPr>
          <p:cNvSpPr>
            <a:spLocks noGrp="1"/>
          </p:cNvSpPr>
          <p:nvPr>
            <p:ph type="pic" sz="quarter" idx="20"/>
          </p:nvPr>
        </p:nvSpPr>
        <p:spPr>
          <a:xfrm>
            <a:off x="4662488" y="1370500"/>
            <a:ext cx="4100512" cy="4369900"/>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pic>
        <p:nvPicPr>
          <p:cNvPr id="4" name="Picture 3">
            <a:extLst>
              <a:ext uri="{FF2B5EF4-FFF2-40B4-BE49-F238E27FC236}">
                <a16:creationId xmlns:a16="http://schemas.microsoft.com/office/drawing/2014/main" id="{5D5B1DCB-9461-509E-3F4D-3C3A5D2A074D}"/>
              </a:ext>
            </a:extLst>
          </p:cNvPr>
          <p:cNvPicPr>
            <a:picLocks noChangeAspect="1"/>
          </p:cNvPicPr>
          <p:nvPr userDrawn="1"/>
        </p:nvPicPr>
        <p:blipFill>
          <a:blip r:embed="rId2"/>
          <a:srcRect/>
          <a:stretch/>
        </p:blipFill>
        <p:spPr>
          <a:xfrm>
            <a:off x="209004" y="294508"/>
            <a:ext cx="2255498" cy="751998"/>
          </a:xfrm>
          <a:prstGeom prst="rect">
            <a:avLst/>
          </a:prstGeom>
        </p:spPr>
      </p:pic>
      <p:sp>
        <p:nvSpPr>
          <p:cNvPr id="5" name="Title">
            <a:extLst>
              <a:ext uri="{FF2B5EF4-FFF2-40B4-BE49-F238E27FC236}">
                <a16:creationId xmlns:a16="http://schemas.microsoft.com/office/drawing/2014/main" id="{2FCA83BC-34EC-98FB-181B-B83702BAB53B}"/>
              </a:ext>
            </a:extLst>
          </p:cNvPr>
          <p:cNvSpPr>
            <a:spLocks noGrp="1"/>
          </p:cNvSpPr>
          <p:nvPr>
            <p:ph type="title" hasCustomPrompt="1"/>
          </p:nvPr>
        </p:nvSpPr>
        <p:spPr>
          <a:xfrm>
            <a:off x="381002" y="2519591"/>
            <a:ext cx="3831305" cy="984885"/>
          </a:xfrm>
        </p:spPr>
        <p:txBody>
          <a:bodyPr/>
          <a:lstStyle>
            <a:lvl1pPr>
              <a:lnSpc>
                <a:spcPct val="100000"/>
              </a:lnSpc>
              <a:defRPr sz="3200">
                <a:solidFill>
                  <a:schemeClr val="accent1"/>
                </a:solidFill>
                <a:latin typeface="GT Walsheim LC Bold" pitchFamily="2" charset="0"/>
                <a:cs typeface="GT Walsheim LC Bold" pitchFamily="2" charset="0"/>
              </a:defRPr>
            </a:lvl1pPr>
          </a:lstStyle>
          <a:p>
            <a:r>
              <a:rPr lang="en-US"/>
              <a:t>[Project title / client name]</a:t>
            </a:r>
          </a:p>
        </p:txBody>
      </p:sp>
      <p:sp>
        <p:nvSpPr>
          <p:cNvPr id="7" name="Text Placeholder 8">
            <a:extLst>
              <a:ext uri="{FF2B5EF4-FFF2-40B4-BE49-F238E27FC236}">
                <a16:creationId xmlns:a16="http://schemas.microsoft.com/office/drawing/2014/main" id="{BC05A401-99DD-7958-C17A-08040C420647}"/>
              </a:ext>
            </a:extLst>
          </p:cNvPr>
          <p:cNvSpPr>
            <a:spLocks noGrp="1"/>
          </p:cNvSpPr>
          <p:nvPr>
            <p:ph type="body" sz="quarter" idx="15" hasCustomPrompt="1"/>
          </p:nvPr>
        </p:nvSpPr>
        <p:spPr>
          <a:xfrm>
            <a:off x="381000" y="3798830"/>
            <a:ext cx="3831305" cy="471487"/>
          </a:xfrm>
        </p:spPr>
        <p:txBody>
          <a:bodyPr/>
          <a:lstStyle>
            <a:lvl1pPr marL="0" indent="0">
              <a:spcAft>
                <a:spcPts val="0"/>
              </a:spcAft>
              <a:buNone/>
              <a:defRPr sz="1500" b="1">
                <a:solidFill>
                  <a:schemeClr val="tx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8" name="Text Placeholder 8">
            <a:extLst>
              <a:ext uri="{FF2B5EF4-FFF2-40B4-BE49-F238E27FC236}">
                <a16:creationId xmlns:a16="http://schemas.microsoft.com/office/drawing/2014/main" id="{65B991CB-F078-3427-A571-CFFDAC4770AD}"/>
              </a:ext>
            </a:extLst>
          </p:cNvPr>
          <p:cNvSpPr>
            <a:spLocks noGrp="1"/>
          </p:cNvSpPr>
          <p:nvPr>
            <p:ph type="body" sz="quarter" idx="16" hasCustomPrompt="1"/>
          </p:nvPr>
        </p:nvSpPr>
        <p:spPr>
          <a:xfrm>
            <a:off x="381000" y="4387302"/>
            <a:ext cx="3831305" cy="287332"/>
          </a:xfrm>
        </p:spPr>
        <p:txBody>
          <a:bodyPr/>
          <a:lstStyle>
            <a:lvl1pPr marL="0" indent="0">
              <a:spcAft>
                <a:spcPts val="0"/>
              </a:spcAft>
              <a:buNone/>
              <a:defRPr sz="1000" b="1">
                <a:solidFill>
                  <a:schemeClr val="accent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Date [Month, year]</a:t>
            </a:r>
          </a:p>
        </p:txBody>
      </p:sp>
    </p:spTree>
    <p:extLst>
      <p:ext uri="{BB962C8B-B14F-4D97-AF65-F5344CB8AC3E}">
        <p14:creationId xmlns:p14="http://schemas.microsoft.com/office/powerpoint/2010/main" val="997209308"/>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Coral">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17" y="535"/>
            <a:ext cx="9142571" cy="6856928"/>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a:extLst>
              <a:ext uri="{FF2B5EF4-FFF2-40B4-BE49-F238E27FC236}">
                <a16:creationId xmlns:a16="http://schemas.microsoft.com/office/drawing/2014/main" id="{C999EE96-BD79-93CA-E326-9F12E2798B91}"/>
              </a:ext>
            </a:extLst>
          </p:cNvPr>
          <p:cNvSpPr>
            <a:spLocks noGrp="1"/>
          </p:cNvSpPr>
          <p:nvPr>
            <p:ph type="body" sz="quarter" idx="12" hasCustomPrompt="1"/>
          </p:nvPr>
        </p:nvSpPr>
        <p:spPr>
          <a:xfrm>
            <a:off x="381000" y="1724025"/>
            <a:ext cx="8382000" cy="4260850"/>
          </a:xfrm>
        </p:spPr>
        <p:txBody>
          <a:bodyPr wrap="square">
            <a:noAutofit/>
          </a:bodyPr>
          <a:lstStyle>
            <a:lvl1pPr marL="0" indent="0">
              <a:buFont typeface="Arial" panose="020B0604020202020204" pitchFamily="34" charset="0"/>
              <a:buNone/>
              <a:defRPr>
                <a:solidFill>
                  <a:schemeClr val="bg1"/>
                </a:solidFill>
              </a:defRPr>
            </a:lvl1pPr>
            <a:lvl2pPr marL="201211" indent="-198830">
              <a:buFont typeface="Arial" panose="020B0604020202020204" pitchFamily="34" charset="0"/>
              <a:buChar char="•"/>
              <a:defRPr sz="1800">
                <a:solidFill>
                  <a:schemeClr val="bg1"/>
                </a:solidFill>
              </a:defRPr>
            </a:lvl2pPr>
            <a:lvl3pPr marL="401231" indent="-197639">
              <a:buFont typeface="Arial" panose="020B0604020202020204" pitchFamily="34" charset="0"/>
              <a:buChar char="–"/>
              <a:defRPr>
                <a:solidFill>
                  <a:schemeClr val="bg1"/>
                </a:solidFill>
              </a:defRPr>
            </a:lvl3pPr>
            <a:lvl4pPr marL="602441" indent="-201211">
              <a:buFont typeface="Arial" panose="020B0604020202020204" pitchFamily="34" charset="0"/>
              <a:buChar char="–"/>
              <a:defRPr sz="15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8" name="Footer">
            <a:extLst>
              <a:ext uri="{FF2B5EF4-FFF2-40B4-BE49-F238E27FC236}">
                <a16:creationId xmlns:a16="http://schemas.microsoft.com/office/drawing/2014/main" id="{0C7CC128-A9AC-E922-5455-8C370D961C4A}"/>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9" name="Slide Number">
            <a:extLst>
              <a:ext uri="{FF2B5EF4-FFF2-40B4-BE49-F238E27FC236}">
                <a16:creationId xmlns:a16="http://schemas.microsoft.com/office/drawing/2014/main" id="{AF577253-BF76-B895-9733-C9C9E6C429D6}"/>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18E2D62A-C4CB-2B97-EAA4-DE690291E5E6}"/>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6319918"/>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Yellow">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500" b="12500"/>
          <a:stretch/>
        </p:blipFill>
        <p:spPr>
          <a:xfrm>
            <a:off x="714" y="540"/>
            <a:ext cx="9142570" cy="6856927"/>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a:extLst>
              <a:ext uri="{FF2B5EF4-FFF2-40B4-BE49-F238E27FC236}">
                <a16:creationId xmlns:a16="http://schemas.microsoft.com/office/drawing/2014/main" id="{2363F132-DC6D-7FFF-9A87-D15BF31D275F}"/>
              </a:ext>
            </a:extLst>
          </p:cNvPr>
          <p:cNvSpPr>
            <a:spLocks noGrp="1"/>
          </p:cNvSpPr>
          <p:nvPr>
            <p:ph type="body" sz="quarter" idx="12" hasCustomPrompt="1"/>
          </p:nvPr>
        </p:nvSpPr>
        <p:spPr>
          <a:xfrm>
            <a:off x="381000" y="1724025"/>
            <a:ext cx="8382000" cy="4260850"/>
          </a:xfrm>
        </p:spPr>
        <p:txBody>
          <a:bodyPr wrap="square">
            <a:noAutofit/>
          </a:bodyPr>
          <a:lstStyle>
            <a:lvl1pPr marL="0" indent="0">
              <a:buFont typeface="Arial" panose="020B0604020202020204" pitchFamily="34" charset="0"/>
              <a:buNone/>
              <a:defRPr>
                <a:solidFill>
                  <a:schemeClr val="bg1"/>
                </a:solidFill>
              </a:defRPr>
            </a:lvl1pPr>
            <a:lvl2pPr marL="201211" indent="-198830">
              <a:buFont typeface="Arial" panose="020B0604020202020204" pitchFamily="34" charset="0"/>
              <a:buChar char="•"/>
              <a:defRPr sz="1800">
                <a:solidFill>
                  <a:schemeClr val="bg1"/>
                </a:solidFill>
              </a:defRPr>
            </a:lvl2pPr>
            <a:lvl3pPr marL="401231" indent="-197639">
              <a:buFont typeface="Arial" panose="020B0604020202020204" pitchFamily="34" charset="0"/>
              <a:buChar char="–"/>
              <a:defRPr>
                <a:solidFill>
                  <a:schemeClr val="bg1"/>
                </a:solidFill>
              </a:defRPr>
            </a:lvl3pPr>
            <a:lvl4pPr marL="602441" indent="-201211">
              <a:buFont typeface="Arial" panose="020B0604020202020204" pitchFamily="34" charset="0"/>
              <a:buChar char="–"/>
              <a:defRPr sz="15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8" name="Footer">
            <a:extLst>
              <a:ext uri="{FF2B5EF4-FFF2-40B4-BE49-F238E27FC236}">
                <a16:creationId xmlns:a16="http://schemas.microsoft.com/office/drawing/2014/main" id="{43BE9D9A-36C6-8B48-7F0D-278244707ECB}"/>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9" name="Slide Number">
            <a:extLst>
              <a:ext uri="{FF2B5EF4-FFF2-40B4-BE49-F238E27FC236}">
                <a16:creationId xmlns:a16="http://schemas.microsoft.com/office/drawing/2014/main" id="{98D98D71-E9C8-29F1-6462-F3FB5A99773F}"/>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FC46C71A-5FE6-649F-34B6-22EACBD310A3}"/>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2538586"/>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14" y="540"/>
            <a:ext cx="9142570" cy="6856927"/>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095378" y="2306206"/>
            <a:ext cx="6953249" cy="1746250"/>
          </a:xfrm>
        </p:spPr>
        <p:txBody>
          <a:bodyPr anchor="ctr"/>
          <a:lstStyle>
            <a:lvl1pPr marL="0" indent="0" algn="ctr">
              <a:lnSpc>
                <a:spcPts val="3450"/>
              </a:lnSpc>
              <a:spcAft>
                <a:spcPts val="2250"/>
              </a:spcAft>
              <a:buNone/>
              <a:defRPr sz="3000" b="1">
                <a:solidFill>
                  <a:schemeClr val="bg1"/>
                </a:solidFill>
              </a:defRPr>
            </a:lvl1pPr>
            <a:lvl2pPr marL="201210" indent="0" algn="ctr">
              <a:buNone/>
              <a:defRPr sz="1800" b="0">
                <a:solidFill>
                  <a:schemeClr val="accent3"/>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sp>
        <p:nvSpPr>
          <p:cNvPr id="3" name="Footer">
            <a:extLst>
              <a:ext uri="{FF2B5EF4-FFF2-40B4-BE49-F238E27FC236}">
                <a16:creationId xmlns:a16="http://schemas.microsoft.com/office/drawing/2014/main" id="{7E5E8525-1C0D-2500-AACE-9856B468D335}"/>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8" name="Slide Number">
            <a:extLst>
              <a:ext uri="{FF2B5EF4-FFF2-40B4-BE49-F238E27FC236}">
                <a16:creationId xmlns:a16="http://schemas.microsoft.com/office/drawing/2014/main" id="{94E4C8DD-E762-9B49-5885-A1DE5759F354}"/>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3991A5C1-83B1-EA67-95CB-9D423B8BF635}"/>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2499985"/>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a:blip r:embed="rId2"/>
          <a:srcRect/>
          <a:stretch/>
        </p:blipFill>
        <p:spPr>
          <a:xfrm>
            <a:off x="716" y="535"/>
            <a:ext cx="9168001" cy="6876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095378" y="2306206"/>
            <a:ext cx="6953249" cy="1746250"/>
          </a:xfrm>
        </p:spPr>
        <p:txBody>
          <a:bodyPr anchor="ctr"/>
          <a:lstStyle>
            <a:lvl1pPr marL="0" indent="0" algn="ctr">
              <a:lnSpc>
                <a:spcPts val="3450"/>
              </a:lnSpc>
              <a:spcAft>
                <a:spcPts val="2250"/>
              </a:spcAft>
              <a:buNone/>
              <a:defRPr sz="3000" b="1">
                <a:solidFill>
                  <a:schemeClr val="accent1"/>
                </a:solidFill>
              </a:defRPr>
            </a:lvl1pPr>
            <a:lvl2pPr marL="201210" indent="0" algn="ctr">
              <a:buNone/>
              <a:defRPr sz="18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sp>
        <p:nvSpPr>
          <p:cNvPr id="2" name="Footer">
            <a:extLst>
              <a:ext uri="{FF2B5EF4-FFF2-40B4-BE49-F238E27FC236}">
                <a16:creationId xmlns:a16="http://schemas.microsoft.com/office/drawing/2014/main" id="{D76DECC7-0BF7-4B84-BF84-45F628D42557}"/>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4" name="Slide Number">
            <a:extLst>
              <a:ext uri="{FF2B5EF4-FFF2-40B4-BE49-F238E27FC236}">
                <a16:creationId xmlns:a16="http://schemas.microsoft.com/office/drawing/2014/main" id="{8FBC19D2-4122-1F7C-6A6C-AB1CCDFD739D}"/>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cxnSp>
        <p:nvCxnSpPr>
          <p:cNvPr id="3" name="Straight Connector 2">
            <a:extLst>
              <a:ext uri="{FF2B5EF4-FFF2-40B4-BE49-F238E27FC236}">
                <a16:creationId xmlns:a16="http://schemas.microsoft.com/office/drawing/2014/main" id="{63940FA9-747F-D806-2B1A-5EDFF6C0962C}"/>
              </a:ext>
            </a:extLst>
          </p:cNvPr>
          <p:cNvCxnSpPr>
            <a:cxnSpLocks/>
          </p:cNvCxnSpPr>
          <p:nvPr userDrawn="1"/>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34104555"/>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Warm Grey">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a:blip r:embed="rId2"/>
          <a:srcRect/>
          <a:stretch/>
        </p:blipFill>
        <p:spPr>
          <a:xfrm>
            <a:off x="716" y="535"/>
            <a:ext cx="9168001" cy="6876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095378" y="2306206"/>
            <a:ext cx="6953249" cy="1746250"/>
          </a:xfrm>
        </p:spPr>
        <p:txBody>
          <a:bodyPr anchor="ctr"/>
          <a:lstStyle>
            <a:lvl1pPr marL="0" indent="0" algn="ctr">
              <a:lnSpc>
                <a:spcPts val="3450"/>
              </a:lnSpc>
              <a:spcAft>
                <a:spcPts val="2250"/>
              </a:spcAft>
              <a:buNone/>
              <a:defRPr sz="3000" b="1">
                <a:solidFill>
                  <a:schemeClr val="accent1"/>
                </a:solidFill>
              </a:defRPr>
            </a:lvl1pPr>
            <a:lvl2pPr marL="201210" indent="0" algn="ctr">
              <a:buNone/>
              <a:defRPr sz="18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sp>
        <p:nvSpPr>
          <p:cNvPr id="2" name="Footer">
            <a:extLst>
              <a:ext uri="{FF2B5EF4-FFF2-40B4-BE49-F238E27FC236}">
                <a16:creationId xmlns:a16="http://schemas.microsoft.com/office/drawing/2014/main" id="{5738A5C8-D2B2-E34E-22ED-58B8BAECEEB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4" name="Slide Number">
            <a:extLst>
              <a:ext uri="{FF2B5EF4-FFF2-40B4-BE49-F238E27FC236}">
                <a16:creationId xmlns:a16="http://schemas.microsoft.com/office/drawing/2014/main" id="{1DDA65CC-8C54-E461-02A8-84D6898D7F5E}"/>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cxnSp>
        <p:nvCxnSpPr>
          <p:cNvPr id="3" name="Straight Connector 2">
            <a:extLst>
              <a:ext uri="{FF2B5EF4-FFF2-40B4-BE49-F238E27FC236}">
                <a16:creationId xmlns:a16="http://schemas.microsoft.com/office/drawing/2014/main" id="{59419F44-7163-BD57-864C-71249247FD9D}"/>
              </a:ext>
            </a:extLst>
          </p:cNvPr>
          <p:cNvCxnSpPr>
            <a:cxnSpLocks/>
          </p:cNvCxnSpPr>
          <p:nvPr userDrawn="1"/>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4835375"/>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p:spTree>
      <p:nvGrpSpPr>
        <p:cNvPr id="1" name=""/>
        <p:cNvGrpSpPr/>
        <p:nvPr/>
      </p:nvGrpSpPr>
      <p:grpSpPr>
        <a:xfrm>
          <a:off x="0" y="0"/>
          <a:ext cx="0" cy="0"/>
          <a:chOff x="0" y="0"/>
          <a:chExt cx="0" cy="0"/>
        </a:xfrm>
      </p:grpSpPr>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9200755" y="6382837"/>
            <a:ext cx="0" cy="0"/>
          </a:xfrm>
        </p:spPr>
        <p:txBody>
          <a:bodyPr vert="horz" wrap="none" lIns="0" tIns="0" rIns="0" bIns="0" rtlCol="0" anchor="b" anchorCtr="0">
            <a:noAutofit/>
          </a:bodyPr>
          <a:lstStyle>
            <a:lvl1pPr>
              <a:defRPr lang="en-GB" sz="100">
                <a:solidFill>
                  <a:srgbClr val="F0F0F0"/>
                </a:solidFill>
              </a:defRPr>
            </a:lvl1pPr>
          </a:lstStyle>
          <a:p>
            <a:pPr algn="l"/>
            <a:r>
              <a:rPr lang="en-US"/>
              <a:t>Global icon library : February 2023   |   © Grant Thornton International Ltd</a:t>
            </a:r>
            <a:endParaRPr lang="en-GB"/>
          </a:p>
        </p:txBody>
      </p:sp>
      <p:sp>
        <p:nvSpPr>
          <p:cNvPr id="6" name="Slide 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9200755" y="6765667"/>
            <a:ext cx="0" cy="0"/>
          </a:xfrm>
        </p:spPr>
        <p:txBody>
          <a:bodyPr/>
          <a:lstStyle>
            <a:lvl1pPr algn="l">
              <a:defRPr sz="100">
                <a:solidFill>
                  <a:srgbClr val="F0F0F0"/>
                </a:solidFill>
              </a:defRPr>
            </a:lvl1pPr>
          </a:lstStyle>
          <a:p>
            <a:fld id="{1AB31D9B-80B6-41F8-B283-556E26E6158E}" type="slidenum">
              <a:rPr lang="en-GB"/>
              <a:pPr/>
              <a:t>‹#›</a:t>
            </a:fld>
            <a:endParaRPr lang="en-GB"/>
          </a:p>
        </p:txBody>
      </p:sp>
      <p:sp>
        <p:nvSpPr>
          <p:cNvPr id="2" name="Text Placeholder 4">
            <a:extLst>
              <a:ext uri="{FF2B5EF4-FFF2-40B4-BE49-F238E27FC236}">
                <a16:creationId xmlns:a16="http://schemas.microsoft.com/office/drawing/2014/main" id="{3E6CDCDC-9104-0A5D-5CC6-D8BF4F5A5123}"/>
              </a:ext>
            </a:extLst>
          </p:cNvPr>
          <p:cNvSpPr>
            <a:spLocks noGrp="1"/>
          </p:cNvSpPr>
          <p:nvPr>
            <p:ph type="body" sz="quarter" idx="15" hasCustomPrompt="1"/>
          </p:nvPr>
        </p:nvSpPr>
        <p:spPr>
          <a:xfrm>
            <a:off x="2681554" y="5529671"/>
            <a:ext cx="6048195" cy="831690"/>
          </a:xfrm>
        </p:spPr>
        <p:txBody>
          <a:bodyPr anchor="b"/>
          <a:lstStyle>
            <a:lvl1pPr marL="0" indent="0">
              <a:buNone/>
              <a:defRPr sz="700">
                <a:solidFill>
                  <a:schemeClr val="tx1"/>
                </a:solidFill>
                <a:latin typeface="GT Walsheim LC Light" pitchFamily="2" charset="0"/>
                <a:cs typeface="GT Walsheim LC Light" pitchFamily="2" charset="0"/>
              </a:defRPr>
            </a:lvl1pPr>
          </a:lstStyle>
          <a:p>
            <a:pPr lvl="0"/>
            <a:r>
              <a:rPr lang="en-US"/>
              <a:t>© 2024 Grant Thornton Corporate Finance Inc. A Canadian Member of Grant Thornton International Ltd. All rights reserved.</a:t>
            </a:r>
          </a:p>
        </p:txBody>
      </p:sp>
      <p:pic>
        <p:nvPicPr>
          <p:cNvPr id="5" name="Picture 4">
            <a:extLst>
              <a:ext uri="{FF2B5EF4-FFF2-40B4-BE49-F238E27FC236}">
                <a16:creationId xmlns:a16="http://schemas.microsoft.com/office/drawing/2014/main" id="{0EF896BD-0E1A-A525-AF6E-461B71C3CF18}"/>
              </a:ext>
            </a:extLst>
          </p:cNvPr>
          <p:cNvPicPr>
            <a:picLocks noChangeAspect="1"/>
          </p:cNvPicPr>
          <p:nvPr userDrawn="1"/>
        </p:nvPicPr>
        <p:blipFill>
          <a:blip r:embed="rId2"/>
          <a:srcRect/>
          <a:stretch/>
        </p:blipFill>
        <p:spPr>
          <a:xfrm>
            <a:off x="209004" y="5326029"/>
            <a:ext cx="2255498" cy="751998"/>
          </a:xfrm>
          <a:prstGeom prst="rect">
            <a:avLst/>
          </a:prstGeom>
        </p:spPr>
      </p:pic>
      <p:cxnSp>
        <p:nvCxnSpPr>
          <p:cNvPr id="8" name="Straight Connector 7">
            <a:extLst>
              <a:ext uri="{FF2B5EF4-FFF2-40B4-BE49-F238E27FC236}">
                <a16:creationId xmlns:a16="http://schemas.microsoft.com/office/drawing/2014/main" id="{607A4708-8FF5-8D11-3798-4C912FFDB39E}"/>
              </a:ext>
            </a:extLst>
          </p:cNvPr>
          <p:cNvCxnSpPr/>
          <p:nvPr userDrawn="1"/>
        </p:nvCxnSpPr>
        <p:spPr>
          <a:xfrm>
            <a:off x="383241" y="6111688"/>
            <a:ext cx="190275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9B03442-F58A-90AD-4631-BF005172303F}"/>
              </a:ext>
            </a:extLst>
          </p:cNvPr>
          <p:cNvSpPr txBox="1"/>
          <p:nvPr userDrawn="1"/>
        </p:nvSpPr>
        <p:spPr>
          <a:xfrm>
            <a:off x="289113" y="6197979"/>
            <a:ext cx="2023781" cy="215444"/>
          </a:xfrm>
          <a:prstGeom prst="rect">
            <a:avLst/>
          </a:prstGeom>
          <a:noFill/>
        </p:spPr>
        <p:txBody>
          <a:bodyPr wrap="square">
            <a:spAutoFit/>
          </a:bodyPr>
          <a:lstStyle/>
          <a:p>
            <a:r>
              <a:rPr lang="en-US" sz="800" b="0">
                <a:solidFill>
                  <a:schemeClr val="tx1"/>
                </a:solidFill>
                <a:latin typeface="GT Walsheim LC Bold" pitchFamily="2" charset="0"/>
                <a:cs typeface="GT Walsheim LC Bold" pitchFamily="2" charset="0"/>
              </a:rPr>
              <a:t>doanegrantthornton.ca</a:t>
            </a:r>
            <a:endParaRPr lang="en-CA" sz="800" b="0">
              <a:solidFill>
                <a:schemeClr val="tx1"/>
              </a:solidFill>
              <a:latin typeface="GT Walsheim LC Bold" pitchFamily="2" charset="0"/>
              <a:cs typeface="GT Walsheim LC Bold" pitchFamily="2" charset="0"/>
            </a:endParaRPr>
          </a:p>
        </p:txBody>
      </p:sp>
    </p:spTree>
    <p:extLst>
      <p:ext uri="{BB962C8B-B14F-4D97-AF65-F5344CB8AC3E}">
        <p14:creationId xmlns:p14="http://schemas.microsoft.com/office/powerpoint/2010/main" val="1889666845"/>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ck cover purple">
    <p:bg>
      <p:bgPr>
        <a:solidFill>
          <a:schemeClr val="accent1"/>
        </a:solidFill>
        <a:effectLst/>
      </p:bgPr>
    </p:bg>
    <p:spTree>
      <p:nvGrpSpPr>
        <p:cNvPr id="1" name=""/>
        <p:cNvGrpSpPr/>
        <p:nvPr/>
      </p:nvGrpSpPr>
      <p:grpSpPr>
        <a:xfrm>
          <a:off x="0" y="0"/>
          <a:ext cx="0" cy="0"/>
          <a:chOff x="0" y="0"/>
          <a:chExt cx="0" cy="0"/>
        </a:xfrm>
      </p:grpSpPr>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9200755" y="6382837"/>
            <a:ext cx="0" cy="0"/>
          </a:xfrm>
        </p:spPr>
        <p:txBody>
          <a:bodyPr vert="horz" wrap="none" lIns="0" tIns="0" rIns="0" bIns="0" rtlCol="0" anchor="b" anchorCtr="0">
            <a:noAutofit/>
          </a:bodyPr>
          <a:lstStyle>
            <a:lvl1pPr>
              <a:defRPr lang="en-GB" sz="100">
                <a:solidFill>
                  <a:srgbClr val="F0F0F0"/>
                </a:solidFill>
              </a:defRPr>
            </a:lvl1pPr>
          </a:lstStyle>
          <a:p>
            <a:pPr algn="l"/>
            <a:r>
              <a:rPr lang="en-US"/>
              <a:t>Global icon library : February 2023   |   © Grant Thornton International Ltd</a:t>
            </a:r>
            <a:endParaRPr lang="en-GB"/>
          </a:p>
        </p:txBody>
      </p:sp>
      <p:sp>
        <p:nvSpPr>
          <p:cNvPr id="7" name="Slide 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9200755" y="6765667"/>
            <a:ext cx="0" cy="0"/>
          </a:xfrm>
        </p:spPr>
        <p:txBody>
          <a:bodyPr/>
          <a:lstStyle>
            <a:lvl1pPr algn="l">
              <a:defRPr sz="100">
                <a:solidFill>
                  <a:srgbClr val="F0F0F0"/>
                </a:solidFill>
              </a:defRPr>
            </a:lvl1pPr>
          </a:lstStyle>
          <a:p>
            <a:fld id="{1AB31D9B-80B6-41F8-B283-556E26E6158E}" type="slidenum">
              <a:rPr lang="en-GB"/>
              <a:pPr/>
              <a:t>‹#›</a:t>
            </a:fld>
            <a:endParaRPr lang="en-GB"/>
          </a:p>
        </p:txBody>
      </p:sp>
      <p:sp>
        <p:nvSpPr>
          <p:cNvPr id="3" name="Footer">
            <a:extLst>
              <a:ext uri="{FF2B5EF4-FFF2-40B4-BE49-F238E27FC236}">
                <a16:creationId xmlns:a16="http://schemas.microsoft.com/office/drawing/2014/main" id="{CFD972AF-6317-FB79-A248-2326743BED55}"/>
              </a:ext>
            </a:extLst>
          </p:cNvPr>
          <p:cNvSpPr txBox="1">
            <a:spLocks/>
          </p:cNvSpPr>
          <p:nvPr userDrawn="1"/>
        </p:nvSpPr>
        <p:spPr>
          <a:xfrm>
            <a:off x="9200755" y="6382837"/>
            <a:ext cx="0" cy="0"/>
          </a:xfrm>
          <a:prstGeom prst="rect">
            <a:avLst/>
          </a:prstGeom>
        </p:spPr>
        <p:txBody>
          <a:bodyPr vert="horz" wrap="none" lIns="0" tIns="0" rIns="0" bIns="0" rtlCol="0" anchor="b" anchorCtr="0">
            <a:noAutofit/>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GB" sz="100" b="0" kern="1200">
                <a:solidFill>
                  <a:srgbClr val="F0F0F0"/>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r>
              <a:rPr lang="en-US"/>
              <a:t>Global icon library : February 2023   |   © Grant Thornton International Ltd</a:t>
            </a:r>
          </a:p>
        </p:txBody>
      </p:sp>
      <p:sp>
        <p:nvSpPr>
          <p:cNvPr id="4" name="Slide Number">
            <a:extLst>
              <a:ext uri="{FF2B5EF4-FFF2-40B4-BE49-F238E27FC236}">
                <a16:creationId xmlns:a16="http://schemas.microsoft.com/office/drawing/2014/main" id="{AEFE1DB5-2C59-FA3F-3493-D1CC73F3D3A8}"/>
              </a:ext>
            </a:extLst>
          </p:cNvPr>
          <p:cNvSpPr txBox="1">
            <a:spLocks/>
          </p:cNvSpPr>
          <p:nvPr userDrawn="1"/>
        </p:nvSpPr>
        <p:spPr>
          <a:xfrm>
            <a:off x="9200755" y="6765667"/>
            <a:ext cx="0" cy="0"/>
          </a:xfrm>
          <a:prstGeom prst="rect">
            <a:avLst/>
          </a:prstGeom>
        </p:spPr>
        <p:txBody>
          <a:bodyPr vert="horz" wrap="none" lIns="0" tIns="0" rIns="0" bIns="0" rtlCol="0" anchor="b" anchorCtr="0">
            <a:noAutofit/>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100" b="0" kern="1200">
                <a:solidFill>
                  <a:srgbClr val="F0F0F0"/>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pPr/>
              <a:t>‹#›</a:t>
            </a:fld>
            <a:endParaRPr lang="en-GB"/>
          </a:p>
        </p:txBody>
      </p:sp>
      <p:sp>
        <p:nvSpPr>
          <p:cNvPr id="5" name="Text Placeholder 4">
            <a:extLst>
              <a:ext uri="{FF2B5EF4-FFF2-40B4-BE49-F238E27FC236}">
                <a16:creationId xmlns:a16="http://schemas.microsoft.com/office/drawing/2014/main" id="{A4EF9DF6-66E2-57C7-ED06-34FF432F73ED}"/>
              </a:ext>
            </a:extLst>
          </p:cNvPr>
          <p:cNvSpPr>
            <a:spLocks noGrp="1"/>
          </p:cNvSpPr>
          <p:nvPr>
            <p:ph type="body" sz="quarter" idx="15" hasCustomPrompt="1"/>
          </p:nvPr>
        </p:nvSpPr>
        <p:spPr>
          <a:xfrm>
            <a:off x="2681554" y="5529671"/>
            <a:ext cx="6048195" cy="831690"/>
          </a:xfrm>
        </p:spPr>
        <p:txBody>
          <a:bodyPr anchor="b"/>
          <a:lstStyle>
            <a:lvl1pPr marL="0" indent="0">
              <a:buNone/>
              <a:defRPr sz="700">
                <a:solidFill>
                  <a:schemeClr val="bg1"/>
                </a:solidFill>
                <a:latin typeface="GT Walsheim LC Light" pitchFamily="2" charset="0"/>
                <a:cs typeface="GT Walsheim LC Light" pitchFamily="2" charset="0"/>
              </a:defRPr>
            </a:lvl1pPr>
          </a:lstStyle>
          <a:p>
            <a:pPr lvl="0"/>
            <a:r>
              <a:rPr lang="en-US"/>
              <a:t>© 2024 Doane Grant Thornton Corporate Finance Inc. A Canadian Member of Grant Thornton International Ltd. All rights reserved.</a:t>
            </a:r>
          </a:p>
        </p:txBody>
      </p:sp>
      <p:pic>
        <p:nvPicPr>
          <p:cNvPr id="8" name="Picture 7">
            <a:extLst>
              <a:ext uri="{FF2B5EF4-FFF2-40B4-BE49-F238E27FC236}">
                <a16:creationId xmlns:a16="http://schemas.microsoft.com/office/drawing/2014/main" id="{0EE41C89-3951-DFD2-2B8A-DED3A6861A94}"/>
              </a:ext>
            </a:extLst>
          </p:cNvPr>
          <p:cNvPicPr>
            <a:picLocks noChangeAspect="1"/>
          </p:cNvPicPr>
          <p:nvPr userDrawn="1"/>
        </p:nvPicPr>
        <p:blipFill>
          <a:blip r:embed="rId2"/>
          <a:srcRect/>
          <a:stretch/>
        </p:blipFill>
        <p:spPr>
          <a:xfrm>
            <a:off x="214254" y="5327945"/>
            <a:ext cx="2244997" cy="748166"/>
          </a:xfrm>
          <a:prstGeom prst="rect">
            <a:avLst/>
          </a:prstGeom>
        </p:spPr>
      </p:pic>
      <p:cxnSp>
        <p:nvCxnSpPr>
          <p:cNvPr id="9" name="Straight Connector 8">
            <a:extLst>
              <a:ext uri="{FF2B5EF4-FFF2-40B4-BE49-F238E27FC236}">
                <a16:creationId xmlns:a16="http://schemas.microsoft.com/office/drawing/2014/main" id="{540AF50E-A701-6DF0-EFAD-C28A5E821633}"/>
              </a:ext>
            </a:extLst>
          </p:cNvPr>
          <p:cNvCxnSpPr/>
          <p:nvPr userDrawn="1"/>
        </p:nvCxnSpPr>
        <p:spPr>
          <a:xfrm>
            <a:off x="383241" y="6111688"/>
            <a:ext cx="190275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CE2B100-E0DC-837E-0C40-5EFC643AE6C3}"/>
              </a:ext>
            </a:extLst>
          </p:cNvPr>
          <p:cNvSpPr txBox="1"/>
          <p:nvPr userDrawn="1"/>
        </p:nvSpPr>
        <p:spPr>
          <a:xfrm>
            <a:off x="289113" y="6197979"/>
            <a:ext cx="2023781" cy="215444"/>
          </a:xfrm>
          <a:prstGeom prst="rect">
            <a:avLst/>
          </a:prstGeom>
          <a:noFill/>
        </p:spPr>
        <p:txBody>
          <a:bodyPr wrap="square">
            <a:spAutoFit/>
          </a:bodyPr>
          <a:lstStyle/>
          <a:p>
            <a:r>
              <a:rPr lang="en-US" sz="800" b="0">
                <a:solidFill>
                  <a:schemeClr val="bg1"/>
                </a:solidFill>
                <a:latin typeface="GT Walsheim LC Bold" pitchFamily="2" charset="0"/>
                <a:cs typeface="GT Walsheim LC Bold" pitchFamily="2" charset="0"/>
              </a:rPr>
              <a:t>doanegrantthornton.ca</a:t>
            </a:r>
            <a:endParaRPr lang="en-CA" sz="800" b="0">
              <a:solidFill>
                <a:schemeClr val="bg1"/>
              </a:solidFill>
              <a:latin typeface="GT Walsheim LC Bold" pitchFamily="2" charset="0"/>
              <a:cs typeface="GT Walsheim LC Bold" pitchFamily="2" charset="0"/>
            </a:endParaRPr>
          </a:p>
        </p:txBody>
      </p:sp>
      <p:pic>
        <p:nvPicPr>
          <p:cNvPr id="13" name="Picture 12">
            <a:extLst>
              <a:ext uri="{FF2B5EF4-FFF2-40B4-BE49-F238E27FC236}">
                <a16:creationId xmlns:a16="http://schemas.microsoft.com/office/drawing/2014/main" id="{F1E2624E-7756-0A9E-7C5C-825C454B138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013" b="-1274"/>
          <a:stretch/>
        </p:blipFill>
        <p:spPr>
          <a:xfrm>
            <a:off x="0" y="0"/>
            <a:ext cx="9144000" cy="4547937"/>
          </a:xfrm>
          <a:prstGeom prst="rect">
            <a:avLst/>
          </a:prstGeom>
        </p:spPr>
      </p:pic>
    </p:spTree>
    <p:extLst>
      <p:ext uri="{BB962C8B-B14F-4D97-AF65-F5344CB8AC3E}">
        <p14:creationId xmlns:p14="http://schemas.microsoft.com/office/powerpoint/2010/main" val="304602205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5" name="Picture 14" descr="Circle&#10;&#10;Description automatically generated with low confidence">
            <a:extLst>
              <a:ext uri="{FF2B5EF4-FFF2-40B4-BE49-F238E27FC236}">
                <a16:creationId xmlns:a16="http://schemas.microsoft.com/office/drawing/2014/main" id="{8FDA681B-B28B-4F0F-12F8-FB5D9C5DF31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4"/>
          <a:stretch/>
        </p:blipFill>
        <p:spPr>
          <a:xfrm>
            <a:off x="0" y="1"/>
            <a:ext cx="6039870" cy="6858000"/>
          </a:xfrm>
          <a:prstGeom prst="rect">
            <a:avLst/>
          </a:prstGeom>
        </p:spPr>
      </p:pic>
      <p:sp>
        <p:nvSpPr>
          <p:cNvPr id="14" name="Rectangle 13">
            <a:extLst>
              <a:ext uri="{FF2B5EF4-FFF2-40B4-BE49-F238E27FC236}">
                <a16:creationId xmlns:a16="http://schemas.microsoft.com/office/drawing/2014/main" id="{B3FFA0C6-4201-F495-7C80-A6A4219ABF8C}"/>
              </a:ext>
            </a:extLst>
          </p:cNvPr>
          <p:cNvSpPr/>
          <p:nvPr userDrawn="1"/>
        </p:nvSpPr>
        <p:spPr>
          <a:xfrm>
            <a:off x="9238520" y="3"/>
            <a:ext cx="1581880" cy="187715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108000" rtlCol="0" anchor="t"/>
          <a:lstStyle/>
          <a:p>
            <a:pPr algn="l"/>
            <a:r>
              <a:rPr lang="en-GB" sz="1100" b="1">
                <a:solidFill>
                  <a:schemeClr val="bg1"/>
                </a:solidFill>
                <a:latin typeface="GT Walsheim LC Light" pitchFamily="2" charset="0"/>
                <a:cs typeface="GT Walsheim LC Light" pitchFamily="2" charset="0"/>
              </a:rPr>
              <a:t>Cover option 4 </a:t>
            </a:r>
            <a:br>
              <a:rPr lang="en-GB" sz="1100" b="1">
                <a:solidFill>
                  <a:schemeClr val="bg1"/>
                </a:solidFill>
                <a:latin typeface="GT Walsheim LC Light" pitchFamily="2" charset="0"/>
                <a:cs typeface="GT Walsheim LC Light" pitchFamily="2" charset="0"/>
              </a:rPr>
            </a:br>
            <a:r>
              <a:rPr lang="en-GB" sz="1100" b="1">
                <a:solidFill>
                  <a:schemeClr val="bg1"/>
                </a:solidFill>
                <a:latin typeface="GT Walsheim LC Light" pitchFamily="2" charset="0"/>
                <a:cs typeface="GT Walsheim LC Light" pitchFamily="2" charset="0"/>
              </a:rPr>
              <a:t>(with image)</a:t>
            </a:r>
          </a:p>
          <a:p>
            <a:pPr algn="l"/>
            <a:r>
              <a:rPr lang="en-GB" sz="1100">
                <a:solidFill>
                  <a:schemeClr val="bg1"/>
                </a:solidFill>
                <a:latin typeface="GT Walsheim LC Light" pitchFamily="2" charset="0"/>
                <a:cs typeface="GT Walsheim LC Light" pitchFamily="2" charset="0"/>
              </a:rPr>
              <a:t>To change image, right-click slide and go to </a:t>
            </a:r>
            <a:r>
              <a:rPr lang="en-GB" sz="1100" b="1">
                <a:solidFill>
                  <a:schemeClr val="bg1"/>
                </a:solidFill>
                <a:latin typeface="GT Walsheim LC Light" pitchFamily="2" charset="0"/>
                <a:cs typeface="GT Walsheim LC Light" pitchFamily="2" charset="0"/>
              </a:rPr>
              <a:t>Format Background &gt; Picture or texture fill </a:t>
            </a:r>
            <a:r>
              <a:rPr lang="en-GB" sz="1100" b="0">
                <a:solidFill>
                  <a:schemeClr val="bg1"/>
                </a:solidFill>
                <a:latin typeface="GT Walsheim LC Light" pitchFamily="2" charset="0"/>
                <a:cs typeface="GT Walsheim LC Light" pitchFamily="2" charset="0"/>
              </a:rPr>
              <a:t>and use the sidebar to choose your image</a:t>
            </a:r>
            <a:endParaRPr lang="en-GB" sz="1100" b="1">
              <a:solidFill>
                <a:schemeClr val="bg1"/>
              </a:solidFill>
              <a:latin typeface="GT Walsheim LC Light" pitchFamily="2" charset="0"/>
              <a:cs typeface="GT Walsheim LC Light" pitchFamily="2" charset="0"/>
            </a:endParaRPr>
          </a:p>
        </p:txBody>
      </p:sp>
      <p:pic>
        <p:nvPicPr>
          <p:cNvPr id="2" name="Picture 1">
            <a:extLst>
              <a:ext uri="{FF2B5EF4-FFF2-40B4-BE49-F238E27FC236}">
                <a16:creationId xmlns:a16="http://schemas.microsoft.com/office/drawing/2014/main" id="{7566900D-79F1-A1C8-0483-0959B7D73E83}"/>
              </a:ext>
            </a:extLst>
          </p:cNvPr>
          <p:cNvPicPr>
            <a:picLocks noChangeAspect="1"/>
          </p:cNvPicPr>
          <p:nvPr userDrawn="1"/>
        </p:nvPicPr>
        <p:blipFill>
          <a:blip r:embed="rId4"/>
          <a:srcRect/>
          <a:stretch/>
        </p:blipFill>
        <p:spPr>
          <a:xfrm>
            <a:off x="209004" y="285882"/>
            <a:ext cx="2255498" cy="751666"/>
          </a:xfrm>
          <a:prstGeom prst="rect">
            <a:avLst/>
          </a:prstGeom>
        </p:spPr>
      </p:pic>
      <p:sp>
        <p:nvSpPr>
          <p:cNvPr id="3" name="Text Placeholder 8">
            <a:extLst>
              <a:ext uri="{FF2B5EF4-FFF2-40B4-BE49-F238E27FC236}">
                <a16:creationId xmlns:a16="http://schemas.microsoft.com/office/drawing/2014/main" id="{24E9C270-4D5C-9EE3-69FD-24366A64623B}"/>
              </a:ext>
            </a:extLst>
          </p:cNvPr>
          <p:cNvSpPr>
            <a:spLocks noGrp="1"/>
          </p:cNvSpPr>
          <p:nvPr>
            <p:ph type="body" sz="quarter" idx="18" hasCustomPrompt="1"/>
          </p:nvPr>
        </p:nvSpPr>
        <p:spPr>
          <a:xfrm>
            <a:off x="381000" y="6222454"/>
            <a:ext cx="4098600" cy="471487"/>
          </a:xfrm>
        </p:spPr>
        <p:txBody>
          <a:bodyPr/>
          <a:lstStyle>
            <a:lvl1pPr marL="0" indent="0">
              <a:spcAft>
                <a:spcPts val="0"/>
              </a:spcAft>
              <a:buNone/>
              <a:defRPr sz="1100" b="0">
                <a:solidFill>
                  <a:schemeClr val="accent3"/>
                </a:solidFill>
                <a:latin typeface="GT Walsheim LC Bold" pitchFamily="2" charset="0"/>
                <a:cs typeface="GT Walsheim LC Bold" pitchFamily="2" charset="0"/>
              </a:defRPr>
            </a:lvl1pPr>
            <a:lvl2pPr>
              <a:defRPr sz="1500" b="0">
                <a:solidFill>
                  <a:schemeClr val="tx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Confidential note </a:t>
            </a:r>
          </a:p>
        </p:txBody>
      </p:sp>
      <p:sp>
        <p:nvSpPr>
          <p:cNvPr id="4" name="Title">
            <a:extLst>
              <a:ext uri="{FF2B5EF4-FFF2-40B4-BE49-F238E27FC236}">
                <a16:creationId xmlns:a16="http://schemas.microsoft.com/office/drawing/2014/main" id="{99C971F2-8146-7F22-4A0C-80189DC740AB}"/>
              </a:ext>
            </a:extLst>
          </p:cNvPr>
          <p:cNvSpPr>
            <a:spLocks noGrp="1"/>
          </p:cNvSpPr>
          <p:nvPr>
            <p:ph type="title" hasCustomPrompt="1"/>
          </p:nvPr>
        </p:nvSpPr>
        <p:spPr>
          <a:xfrm>
            <a:off x="381002" y="2519426"/>
            <a:ext cx="4281484" cy="984885"/>
          </a:xfrm>
        </p:spPr>
        <p:txBody>
          <a:bodyPr/>
          <a:lstStyle>
            <a:lvl1pPr>
              <a:lnSpc>
                <a:spcPct val="100000"/>
              </a:lnSpc>
              <a:defRPr sz="3200">
                <a:solidFill>
                  <a:schemeClr val="bg1"/>
                </a:solidFill>
                <a:latin typeface="GT Walsheim LC Bold" pitchFamily="2" charset="0"/>
                <a:cs typeface="GT Walsheim LC Bold" pitchFamily="2" charset="0"/>
              </a:defRPr>
            </a:lvl1pPr>
          </a:lstStyle>
          <a:p>
            <a:r>
              <a:rPr lang="en-US"/>
              <a:t>[Project title / </a:t>
            </a:r>
            <a:br>
              <a:rPr lang="en-US"/>
            </a:br>
            <a:r>
              <a:rPr lang="en-US"/>
              <a:t>client name]</a:t>
            </a:r>
          </a:p>
        </p:txBody>
      </p:sp>
      <p:sp>
        <p:nvSpPr>
          <p:cNvPr id="5" name="Text Placeholder 8">
            <a:extLst>
              <a:ext uri="{FF2B5EF4-FFF2-40B4-BE49-F238E27FC236}">
                <a16:creationId xmlns:a16="http://schemas.microsoft.com/office/drawing/2014/main" id="{96212348-5CF5-EFF3-9E59-F2A22EBD6F19}"/>
              </a:ext>
            </a:extLst>
          </p:cNvPr>
          <p:cNvSpPr>
            <a:spLocks noGrp="1"/>
          </p:cNvSpPr>
          <p:nvPr>
            <p:ph type="body" sz="quarter" idx="15" hasCustomPrompt="1"/>
          </p:nvPr>
        </p:nvSpPr>
        <p:spPr>
          <a:xfrm>
            <a:off x="381000" y="3798830"/>
            <a:ext cx="4281486" cy="471487"/>
          </a:xfrm>
        </p:spPr>
        <p:txBody>
          <a:bodyPr/>
          <a:lstStyle>
            <a:lvl1pPr marL="0" indent="0">
              <a:spcAft>
                <a:spcPts val="0"/>
              </a:spcAft>
              <a:buNone/>
              <a:defRPr sz="1500" b="1">
                <a:solidFill>
                  <a:schemeClr val="bg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6" name="Text Placeholder 8">
            <a:extLst>
              <a:ext uri="{FF2B5EF4-FFF2-40B4-BE49-F238E27FC236}">
                <a16:creationId xmlns:a16="http://schemas.microsoft.com/office/drawing/2014/main" id="{A203EF20-E4F8-DE24-F5A7-5DE896C40AE3}"/>
              </a:ext>
            </a:extLst>
          </p:cNvPr>
          <p:cNvSpPr>
            <a:spLocks noGrp="1"/>
          </p:cNvSpPr>
          <p:nvPr>
            <p:ph type="body" sz="quarter" idx="16" hasCustomPrompt="1"/>
          </p:nvPr>
        </p:nvSpPr>
        <p:spPr>
          <a:xfrm>
            <a:off x="381000" y="4387302"/>
            <a:ext cx="4281486" cy="287332"/>
          </a:xfrm>
        </p:spPr>
        <p:txBody>
          <a:bodyPr/>
          <a:lstStyle>
            <a:lvl1pPr marL="0" indent="0">
              <a:spcAft>
                <a:spcPts val="0"/>
              </a:spcAft>
              <a:buNone/>
              <a:defRPr sz="1000" b="1">
                <a:solidFill>
                  <a:schemeClr val="bg1"/>
                </a:solidFill>
                <a:latin typeface="GT Walsheim LC Light" pitchFamily="2" charset="0"/>
                <a:cs typeface="GT Walsheim LC Light" pitchFamily="2" charset="0"/>
              </a:defRPr>
            </a:lvl1pPr>
            <a:lvl2pPr>
              <a:defRPr sz="1500" b="0">
                <a:solidFill>
                  <a:schemeClr val="bg1"/>
                </a:solidFill>
              </a:defRPr>
            </a:lvl2pPr>
            <a:lvl3pPr>
              <a:spcAft>
                <a:spcPts val="0"/>
              </a:spcAft>
              <a:defRPr sz="1050" b="0">
                <a:solidFill>
                  <a:schemeClr val="bg1"/>
                </a:solidFill>
              </a:defRPr>
            </a:lvl3pPr>
            <a:lvl4pPr>
              <a:defRPr>
                <a:solidFill>
                  <a:schemeClr val="bg1"/>
                </a:solidFill>
              </a:defRPr>
            </a:lvl4pPr>
            <a:lvl5pPr>
              <a:defRPr>
                <a:solidFill>
                  <a:schemeClr val="bg1"/>
                </a:solidFill>
              </a:defRPr>
            </a:lvl5pPr>
          </a:lstStyle>
          <a:p>
            <a:pPr lvl="0"/>
            <a:r>
              <a:rPr lang="en-US"/>
              <a:t>Date [Month, year]</a:t>
            </a:r>
          </a:p>
        </p:txBody>
      </p:sp>
    </p:spTree>
    <p:extLst>
      <p:ext uri="{BB962C8B-B14F-4D97-AF65-F5344CB8AC3E}">
        <p14:creationId xmlns:p14="http://schemas.microsoft.com/office/powerpoint/2010/main" val="90330467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bg1"/>
                </a:solidFill>
                <a:latin typeface="GT Walsheim LC Bold" pitchFamily="2" charset="0"/>
                <a:cs typeface="GT Walsheim LC Bold" pitchFamily="2" charset="0"/>
              </a:defRPr>
            </a:lvl1pPr>
          </a:lstStyle>
          <a:p>
            <a:r>
              <a:rPr lang="en-US"/>
              <a:t>Click to edit Master title style</a:t>
            </a:r>
            <a:endParaRPr lang="en-GB"/>
          </a:p>
        </p:txBody>
      </p:sp>
      <p:sp>
        <p:nvSpPr>
          <p:cNvPr id="6" name="Footer">
            <a:extLst>
              <a:ext uri="{FF2B5EF4-FFF2-40B4-BE49-F238E27FC236}">
                <a16:creationId xmlns:a16="http://schemas.microsoft.com/office/drawing/2014/main" id="{F7589D95-2B96-E54F-4911-1E685737B1FB}"/>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latin typeface="GT Walsheim LC Light" pitchFamily="2" charset="0"/>
                <a:cs typeface="GT Walsheim LC Light" pitchFamily="2" charset="0"/>
              </a:defRPr>
            </a:lvl1pPr>
          </a:lstStyle>
          <a:p>
            <a:r>
              <a:rPr lang="en-CA" dirty="0"/>
              <a:t>Project name  |  Confidential Information Update</a:t>
            </a:r>
          </a:p>
        </p:txBody>
      </p:sp>
      <p:sp>
        <p:nvSpPr>
          <p:cNvPr id="7" name="Slide Number">
            <a:extLst>
              <a:ext uri="{FF2B5EF4-FFF2-40B4-BE49-F238E27FC236}">
                <a16:creationId xmlns:a16="http://schemas.microsoft.com/office/drawing/2014/main" id="{FFF91034-B6E1-F0E2-D57D-0F0FBE39E4B2}"/>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latin typeface="GT Walsheim LC Light" pitchFamily="2" charset="0"/>
                <a:cs typeface="GT Walsheim LC Light" pitchFamily="2" charset="0"/>
              </a:defRPr>
            </a:lvl1pPr>
          </a:lstStyle>
          <a:p>
            <a:fld id="{1AB31D9B-80B6-41F8-B283-556E26E6158E}" type="slidenum">
              <a:rPr lang="en-GB" smtClean="0"/>
              <a:pPr/>
              <a:t>‹#›</a:t>
            </a:fld>
            <a:endParaRPr lang="en-GB"/>
          </a:p>
        </p:txBody>
      </p:sp>
      <p:cxnSp>
        <p:nvCxnSpPr>
          <p:cNvPr id="3" name="Straight Connector 2">
            <a:extLst>
              <a:ext uri="{FF2B5EF4-FFF2-40B4-BE49-F238E27FC236}">
                <a16:creationId xmlns:a16="http://schemas.microsoft.com/office/drawing/2014/main" id="{4C845E3E-8A74-C5E4-38B8-80704B7C15E3}"/>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6796301"/>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BBF18C-6F78-6F99-8EFD-350FE50BF2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2500" b="12500"/>
          <a:stretch/>
        </p:blipFill>
        <p:spPr>
          <a:xfrm>
            <a:off x="3" y="536"/>
            <a:ext cx="9142571" cy="6856928"/>
          </a:xfrm>
          <a:prstGeom prst="rect">
            <a:avLst/>
          </a:prstGeom>
        </p:spPr>
      </p:pic>
      <p:sp>
        <p:nvSpPr>
          <p:cNvPr id="2" name="Title 1">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Footer">
            <a:extLst>
              <a:ext uri="{FF2B5EF4-FFF2-40B4-BE49-F238E27FC236}">
                <a16:creationId xmlns:a16="http://schemas.microsoft.com/office/drawing/2014/main" id="{EC45CBED-42D2-C643-DBBB-B6B0DCA300E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8" name="Slide Number">
            <a:extLst>
              <a:ext uri="{FF2B5EF4-FFF2-40B4-BE49-F238E27FC236}">
                <a16:creationId xmlns:a16="http://schemas.microsoft.com/office/drawing/2014/main" id="{9D522AA9-76C6-B607-F0D0-A00C8EFFA722}"/>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3" name="Straight Connector 2">
            <a:extLst>
              <a:ext uri="{FF2B5EF4-FFF2-40B4-BE49-F238E27FC236}">
                <a16:creationId xmlns:a16="http://schemas.microsoft.com/office/drawing/2014/main" id="{F12074E6-3B61-8C76-FE08-C7DEF0D5AC82}"/>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2948533"/>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2" name="Footer">
            <a:extLst>
              <a:ext uri="{FF2B5EF4-FFF2-40B4-BE49-F238E27FC236}">
                <a16:creationId xmlns:a16="http://schemas.microsoft.com/office/drawing/2014/main" id="{BDE4899C-2756-68DA-B05D-C57DB5E9EDB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1A836AB8-491B-8363-59C7-4A45CD13D2F1}"/>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1326868793"/>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381000" y="1724025"/>
            <a:ext cx="8382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a:extLst>
              <a:ext uri="{FF2B5EF4-FFF2-40B4-BE49-F238E27FC236}">
                <a16:creationId xmlns:a16="http://schemas.microsoft.com/office/drawing/2014/main" id="{B4CB30F1-902A-0A79-1469-B907A456A644}"/>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defRPr>
            </a:lvl1pPr>
          </a:lstStyle>
          <a:p>
            <a:r>
              <a:rPr lang="en-CA" dirty="0"/>
              <a:t>Project name  |  Confidential Information Update</a:t>
            </a:r>
          </a:p>
        </p:txBody>
      </p:sp>
      <p:sp>
        <p:nvSpPr>
          <p:cNvPr id="6" name="Slide Number">
            <a:extLst>
              <a:ext uri="{FF2B5EF4-FFF2-40B4-BE49-F238E27FC236}">
                <a16:creationId xmlns:a16="http://schemas.microsoft.com/office/drawing/2014/main" id="{3F2B062F-95B0-421C-13C7-292C2CC2B923}"/>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defRPr>
            </a:lvl1pPr>
          </a:lstStyle>
          <a:p>
            <a:fld id="{1AB31D9B-80B6-41F8-B283-556E26E6158E}" type="slidenum">
              <a:rPr lang="en-GB" smtClean="0"/>
              <a:pPr/>
              <a:t>‹#›</a:t>
            </a:fld>
            <a:endParaRPr lang="en-GB"/>
          </a:p>
        </p:txBody>
      </p:sp>
    </p:spTree>
    <p:extLst>
      <p:ext uri="{BB962C8B-B14F-4D97-AF65-F5344CB8AC3E}">
        <p14:creationId xmlns:p14="http://schemas.microsoft.com/office/powerpoint/2010/main" val="4040350766"/>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381000" y="1724025"/>
            <a:ext cx="8382000" cy="4260850"/>
          </a:xfr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Footer">
            <a:extLst>
              <a:ext uri="{FF2B5EF4-FFF2-40B4-BE49-F238E27FC236}">
                <a16:creationId xmlns:a16="http://schemas.microsoft.com/office/drawing/2014/main" id="{7C2C7DA6-DDEB-F617-DD0C-2B43E7CB549E}"/>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chemeClr val="bg1"/>
                </a:solidFill>
              </a:defRPr>
            </a:lvl1pPr>
          </a:lstStyle>
          <a:p>
            <a:r>
              <a:rPr lang="en-CA" dirty="0"/>
              <a:t>Project name  |  Confidential Information Update</a:t>
            </a:r>
          </a:p>
        </p:txBody>
      </p:sp>
      <p:sp>
        <p:nvSpPr>
          <p:cNvPr id="8" name="Slide Number">
            <a:extLst>
              <a:ext uri="{FF2B5EF4-FFF2-40B4-BE49-F238E27FC236}">
                <a16:creationId xmlns:a16="http://schemas.microsoft.com/office/drawing/2014/main" id="{D4891EC8-BA53-7297-55F0-288D2B6467B0}"/>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bg1"/>
                </a:solidFill>
              </a:defRPr>
            </a:lvl1pPr>
          </a:lstStyle>
          <a:p>
            <a:fld id="{1AB31D9B-80B6-41F8-B283-556E26E6158E}" type="slidenum">
              <a:rPr lang="en-GB" smtClean="0"/>
              <a:pPr/>
              <a:t>‹#›</a:t>
            </a:fld>
            <a:endParaRPr lang="en-GB"/>
          </a:p>
        </p:txBody>
      </p:sp>
      <p:cxnSp>
        <p:nvCxnSpPr>
          <p:cNvPr id="2" name="Straight Connector 1">
            <a:extLst>
              <a:ext uri="{FF2B5EF4-FFF2-40B4-BE49-F238E27FC236}">
                <a16:creationId xmlns:a16="http://schemas.microsoft.com/office/drawing/2014/main" id="{0916D7CD-08F1-E88B-DFEB-3374AE66C983}"/>
              </a:ext>
            </a:extLst>
          </p:cNvPr>
          <p:cNvCxnSpPr>
            <a:cxnSpLocks/>
          </p:cNvCxnSpPr>
          <p:nvPr userDrawn="1"/>
        </p:nvCxnSpPr>
        <p:spPr>
          <a:xfrm>
            <a:off x="383241" y="6333188"/>
            <a:ext cx="2132779"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9379538"/>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le"/>
          <p:cNvSpPr>
            <a:spLocks noGrp="1"/>
          </p:cNvSpPr>
          <p:nvPr>
            <p:ph type="title"/>
          </p:nvPr>
        </p:nvSpPr>
        <p:spPr>
          <a:xfrm>
            <a:off x="381005" y="508005"/>
            <a:ext cx="6954439" cy="346249"/>
          </a:xfrm>
          <a:prstGeom prst="rect">
            <a:avLst/>
          </a:prstGeom>
        </p:spPr>
        <p:txBody>
          <a:bodyPr vert="horz" wrap="square" lIns="0" tIns="0" rIns="0" bIns="0" rtlCol="0" anchor="t" anchorCtr="0">
            <a:spAutoFit/>
          </a:bodyPr>
          <a:lstStyle/>
          <a:p>
            <a:r>
              <a:rPr lang="en-GB"/>
              <a:t>Click to edit Master title style</a:t>
            </a:r>
          </a:p>
        </p:txBody>
      </p:sp>
      <p:sp>
        <p:nvSpPr>
          <p:cNvPr id="13" name="Text"/>
          <p:cNvSpPr>
            <a:spLocks noGrp="1"/>
          </p:cNvSpPr>
          <p:nvPr>
            <p:ph type="body" idx="1"/>
          </p:nvPr>
        </p:nvSpPr>
        <p:spPr>
          <a:xfrm>
            <a:off x="381000" y="1724025"/>
            <a:ext cx="8382000" cy="4260850"/>
          </a:xfrm>
          <a:prstGeom prst="rect">
            <a:avLst/>
          </a:prstGeom>
        </p:spPr>
        <p:txBody>
          <a:bodyPr vert="horz" wrap="square" lIns="0" tIns="0" rIns="0" bIns="0" rtlCol="0" anchor="t" anchorCtr="0">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 level</a:t>
            </a:r>
          </a:p>
          <a:p>
            <a:pPr lvl="8"/>
            <a:r>
              <a:rPr lang="en-GB"/>
              <a:t>Ninth level</a:t>
            </a:r>
          </a:p>
        </p:txBody>
      </p:sp>
      <p:sp>
        <p:nvSpPr>
          <p:cNvPr id="4" name="Footer">
            <a:extLst>
              <a:ext uri="{FF2B5EF4-FFF2-40B4-BE49-F238E27FC236}">
                <a16:creationId xmlns:a16="http://schemas.microsoft.com/office/drawing/2014/main" id="{E032B29B-C892-2F33-A0D1-466B389F47ED}"/>
              </a:ext>
            </a:extLst>
          </p:cNvPr>
          <p:cNvSpPr>
            <a:spLocks noGrp="1"/>
          </p:cNvSpPr>
          <p:nvPr>
            <p:ph type="ftr" sz="quarter" idx="3"/>
          </p:nvPr>
        </p:nvSpPr>
        <p:spPr>
          <a:xfrm>
            <a:off x="646433" y="6432347"/>
            <a:ext cx="3024187" cy="92333"/>
          </a:xfrm>
          <a:prstGeom prst="rect">
            <a:avLst/>
          </a:prstGeom>
        </p:spPr>
        <p:txBody>
          <a:bodyPr vert="horz" wrap="none" lIns="0" tIns="0" rIns="0" bIns="0" rtlCol="0" anchor="b" anchorCtr="0">
            <a:noAutofit/>
          </a:bodyPr>
          <a:lstStyle>
            <a:lvl1pPr algn="l">
              <a:defRPr sz="600">
                <a:solidFill>
                  <a:sysClr val="windowText" lastClr="000000"/>
                </a:solidFill>
                <a:latin typeface="GT Walsheim LC Light" pitchFamily="2" charset="0"/>
                <a:cs typeface="GT Walsheim LC Light" pitchFamily="2" charset="0"/>
              </a:defRPr>
            </a:lvl1pPr>
          </a:lstStyle>
          <a:p>
            <a:r>
              <a:rPr lang="en-CA" dirty="0"/>
              <a:t>Project name  |  Confidential Information Update</a:t>
            </a:r>
          </a:p>
        </p:txBody>
      </p:sp>
      <p:sp>
        <p:nvSpPr>
          <p:cNvPr id="5" name="Slide Number">
            <a:extLst>
              <a:ext uri="{FF2B5EF4-FFF2-40B4-BE49-F238E27FC236}">
                <a16:creationId xmlns:a16="http://schemas.microsoft.com/office/drawing/2014/main" id="{1D4743E6-BE00-C4B8-EBCA-6F0BA2937DE2}"/>
              </a:ext>
            </a:extLst>
          </p:cNvPr>
          <p:cNvSpPr>
            <a:spLocks noGrp="1"/>
          </p:cNvSpPr>
          <p:nvPr>
            <p:ph type="sldNum" sz="quarter" idx="4"/>
          </p:nvPr>
        </p:nvSpPr>
        <p:spPr>
          <a:xfrm>
            <a:off x="381000" y="6432347"/>
            <a:ext cx="266700" cy="92333"/>
          </a:xfrm>
          <a:prstGeom prst="rect">
            <a:avLst/>
          </a:prstGeom>
        </p:spPr>
        <p:txBody>
          <a:bodyPr vert="horz" wrap="none" lIns="0" tIns="0" rIns="0" bIns="0" rtlCol="0" anchor="b" anchorCtr="0">
            <a:noAutofit/>
          </a:bodyPr>
          <a:lstStyle>
            <a:lvl1pPr algn="l">
              <a:defRPr sz="600">
                <a:solidFill>
                  <a:schemeClr val="accent1"/>
                </a:solidFill>
                <a:latin typeface="GT Walsheim LC Light" pitchFamily="2" charset="0"/>
                <a:cs typeface="GT Walsheim LC Light" pitchFamily="2" charset="0"/>
              </a:defRPr>
            </a:lvl1pPr>
          </a:lstStyle>
          <a:p>
            <a:fld id="{1AB31D9B-80B6-41F8-B283-556E26E6158E}" type="slidenum">
              <a:rPr lang="en-GB" smtClean="0"/>
              <a:pPr/>
              <a:t>‹#›</a:t>
            </a:fld>
            <a:endParaRPr lang="en-GB"/>
          </a:p>
        </p:txBody>
      </p:sp>
      <p:sp>
        <p:nvSpPr>
          <p:cNvPr id="2" name="empower - DO NOT DELETE!!!" hidden="1">
            <a:extLst>
              <a:ext uri="{FF2B5EF4-FFF2-40B4-BE49-F238E27FC236}">
                <a16:creationId xmlns:a16="http://schemas.microsoft.com/office/drawing/2014/main" id="{07316B16-4D7D-4D93-4078-B2A8DA84BBA2}"/>
              </a:ext>
            </a:extLst>
          </p:cNvPr>
          <p:cNvSpPr/>
          <p:nvPr>
            <p:custDataLst>
              <p:tags r:id="rId38"/>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1800">
              <a:solidFill>
                <a:schemeClr val="bg1"/>
              </a:solidFill>
            </a:endParaRPr>
          </a:p>
        </p:txBody>
      </p:sp>
      <p:cxnSp>
        <p:nvCxnSpPr>
          <p:cNvPr id="3" name="Straight Connector 2">
            <a:extLst>
              <a:ext uri="{FF2B5EF4-FFF2-40B4-BE49-F238E27FC236}">
                <a16:creationId xmlns:a16="http://schemas.microsoft.com/office/drawing/2014/main" id="{B4E48AC6-D49A-EA03-F8F9-5C469707BB6D}"/>
              </a:ext>
            </a:extLst>
          </p:cNvPr>
          <p:cNvCxnSpPr>
            <a:cxnSpLocks/>
          </p:cNvCxnSpPr>
          <p:nvPr userDrawn="1"/>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5750333"/>
      </p:ext>
    </p:extLst>
  </p:cSld>
  <p:clrMap bg1="lt1" tx1="dk1" bg2="lt2" tx2="dk2" accent1="accent1" accent2="accent2" accent3="accent3" accent4="accent4" accent5="accent5" accent6="accent6" hlink="hlink" folHlink="folHlink"/>
  <p:sldLayoutIdLst>
    <p:sldLayoutId id="2147483830" r:id="rId1"/>
    <p:sldLayoutId id="2147483832" r:id="rId2"/>
    <p:sldLayoutId id="2147483833" r:id="rId3"/>
    <p:sldLayoutId id="2147483831"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72" r:id="rId13"/>
    <p:sldLayoutId id="2147483873" r:id="rId14"/>
    <p:sldLayoutId id="2147483874" r:id="rId15"/>
    <p:sldLayoutId id="2147483845" r:id="rId16"/>
    <p:sldLayoutId id="2147483848" r:id="rId17"/>
    <p:sldLayoutId id="2147483849" r:id="rId18"/>
    <p:sldLayoutId id="2147483850" r:id="rId19"/>
    <p:sldLayoutId id="2147483851" r:id="rId20"/>
    <p:sldLayoutId id="2147483852" r:id="rId21"/>
    <p:sldLayoutId id="2147483853" r:id="rId22"/>
    <p:sldLayoutId id="2147483860" r:id="rId23"/>
    <p:sldLayoutId id="2147483857" r:id="rId24"/>
    <p:sldLayoutId id="2147483858" r:id="rId25"/>
    <p:sldLayoutId id="2147483859"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Lst>
  <p:hf hdr="0" dt="0"/>
  <p:txStyles>
    <p:titleStyle>
      <a:lvl1pPr algn="l" defTabSz="552479" rtl="0" eaLnBrk="1" latinLnBrk="0" hangingPunct="1">
        <a:lnSpc>
          <a:spcPts val="2700"/>
        </a:lnSpc>
        <a:spcBef>
          <a:spcPct val="0"/>
        </a:spcBef>
        <a:buNone/>
        <a:defRPr sz="2250" b="0" kern="1200">
          <a:solidFill>
            <a:schemeClr val="accent1"/>
          </a:solidFill>
          <a:latin typeface="GT Walsheim LC Bold" pitchFamily="2" charset="0"/>
          <a:ea typeface="+mj-ea"/>
          <a:cs typeface="GT Walsheim LC Bold" pitchFamily="2" charset="0"/>
        </a:defRPr>
      </a:lvl1pPr>
    </p:titleStyle>
    <p:body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GT Walsheim LC Light" pitchFamily="2" charset="0"/>
          <a:ea typeface="+mn-ea"/>
          <a:cs typeface="GT Walsheim LC Light" pitchFamily="2"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GT Walsheim LC Light" pitchFamily="2" charset="0"/>
          <a:ea typeface="+mn-ea"/>
          <a:cs typeface="GT Walsheim LC Light" pitchFamily="2"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GT Walsheim LC Light" pitchFamily="2" charset="0"/>
          <a:ea typeface="+mn-ea"/>
          <a:cs typeface="GT Walsheim LC Light" pitchFamily="2"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GT Walsheim LC Light" pitchFamily="2" charset="0"/>
          <a:ea typeface="+mn-ea"/>
          <a:cs typeface="GT Walsheim LC Light" pitchFamily="2"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GT Walsheim LC Light" pitchFamily="2" charset="0"/>
          <a:ea typeface="+mn-ea"/>
          <a:cs typeface="GT Walsheim LC Light" pitchFamily="2"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GT Walsheim LC Light" pitchFamily="2" charset="0"/>
          <a:ea typeface="+mn-ea"/>
          <a:cs typeface="GT Walsheim LC Light" pitchFamily="2"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GT Walsheim LC Light" pitchFamily="2" charset="0"/>
          <a:ea typeface="+mn-ea"/>
          <a:cs typeface="GT Walsheim LC Light" pitchFamily="2"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GT Walsheim LC Light" pitchFamily="2" charset="0"/>
          <a:ea typeface="+mn-ea"/>
          <a:cs typeface="GT Walsheim LC Light" pitchFamily="2"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GT Walsheim LC Light" pitchFamily="2" charset="0"/>
          <a:ea typeface="+mn-ea"/>
          <a:cs typeface="GT Walsheim LC Light" pitchFamily="2" charset="0"/>
        </a:defRPr>
      </a:lvl9pPr>
    </p:bodyStyle>
    <p:otherStyle>
      <a:defPPr>
        <a:defRPr lang="en-US"/>
      </a:defPPr>
      <a:lvl1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mn-lt"/>
          <a:ea typeface="+mn-ea"/>
          <a:cs typeface="+mn-cs"/>
        </a:defRPr>
      </a:lvl1pPr>
      <a:lvl2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mn-lt"/>
          <a:ea typeface="+mn-ea"/>
          <a:cs typeface="+mn-cs"/>
        </a:defRPr>
      </a:lvl2pPr>
      <a:lvl3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800" kern="1200">
          <a:solidFill>
            <a:schemeClr val="tx1"/>
          </a:solidFill>
          <a:latin typeface="+mn-lt"/>
          <a:ea typeface="+mn-ea"/>
          <a:cs typeface="+mn-cs"/>
        </a:defRPr>
      </a:lvl3pPr>
      <a:lvl4pPr marL="609585" indent="-197639" algn="l" defTabSz="676258" rtl="0" eaLnBrk="1" latinLnBrk="0" hangingPunct="1">
        <a:lnSpc>
          <a:spcPct val="100000"/>
        </a:lnSpc>
        <a:spcBef>
          <a:spcPts val="0"/>
        </a:spcBef>
        <a:spcAft>
          <a:spcPts val="450"/>
        </a:spcAft>
        <a:buFont typeface="Arial" panose="020B0604020202020204" pitchFamily="34" charset="0"/>
        <a:buChar char="–"/>
        <a:defRPr sz="1800" kern="1200">
          <a:solidFill>
            <a:schemeClr val="tx1"/>
          </a:solidFill>
          <a:latin typeface="+mn-lt"/>
          <a:ea typeface="+mn-ea"/>
          <a:cs typeface="+mn-cs"/>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mn-lt"/>
          <a:ea typeface="+mn-ea"/>
          <a:cs typeface="+mn-cs"/>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mn-lt"/>
          <a:ea typeface="+mn-ea"/>
          <a:cs typeface="+mn-cs"/>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700" b="1" kern="1200" dirty="0">
          <a:solidFill>
            <a:schemeClr val="tx1"/>
          </a:solidFill>
          <a:latin typeface="+mn-lt"/>
          <a:ea typeface="+mn-ea"/>
          <a:cs typeface="+mn-cs"/>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accent1"/>
          </a:solidFill>
          <a:latin typeface="+mn-lt"/>
          <a:ea typeface="+mn-ea"/>
          <a:cs typeface="+mn-cs"/>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userDrawn="1">
          <p15:clr>
            <a:srgbClr val="F26B43"/>
          </p15:clr>
        </p15:guide>
        <p15:guide id="2" pos="240" userDrawn="1">
          <p15:clr>
            <a:srgbClr val="F26B43"/>
          </p15:clr>
        </p15:guide>
        <p15:guide id="3" orient="horz" pos="3997" userDrawn="1">
          <p15:clr>
            <a:srgbClr val="F26B43"/>
          </p15:clr>
        </p15:guide>
        <p15:guide id="4" pos="5520" userDrawn="1">
          <p15:clr>
            <a:srgbClr val="F26B43"/>
          </p15:clr>
        </p15:guide>
        <p15:guide id="5" pos="2822" userDrawn="1">
          <p15:clr>
            <a:srgbClr val="F26B43"/>
          </p15:clr>
        </p15:guide>
        <p15:guide id="6" pos="2937" userDrawn="1">
          <p15:clr>
            <a:srgbClr val="F26B43"/>
          </p15:clr>
        </p15:guide>
        <p15:guide id="7" pos="2488" userDrawn="1">
          <p15:clr>
            <a:srgbClr val="F26B43"/>
          </p15:clr>
        </p15:guide>
        <p15:guide id="8" pos="3272" userDrawn="1">
          <p15:clr>
            <a:srgbClr val="F26B43"/>
          </p15:clr>
        </p15:guide>
        <p15:guide id="9" pos="2372" userDrawn="1">
          <p15:clr>
            <a:srgbClr val="F26B43"/>
          </p15:clr>
        </p15:guide>
        <p15:guide id="10" pos="3387" userDrawn="1">
          <p15:clr>
            <a:srgbClr val="F26B43"/>
          </p15:clr>
        </p15:guide>
        <p15:guide id="11" pos="2038" userDrawn="1">
          <p15:clr>
            <a:srgbClr val="F26B43"/>
          </p15:clr>
        </p15:guide>
        <p15:guide id="12" pos="3722" userDrawn="1">
          <p15:clr>
            <a:srgbClr val="F26B43"/>
          </p15:clr>
        </p15:guide>
        <p15:guide id="13" pos="1923" userDrawn="1">
          <p15:clr>
            <a:srgbClr val="F26B43"/>
          </p15:clr>
        </p15:guide>
        <p15:guide id="14" pos="3836" userDrawn="1">
          <p15:clr>
            <a:srgbClr val="F26B43"/>
          </p15:clr>
        </p15:guide>
        <p15:guide id="15" pos="1589" userDrawn="1">
          <p15:clr>
            <a:srgbClr val="F26B43"/>
          </p15:clr>
        </p15:guide>
        <p15:guide id="16" pos="4171" userDrawn="1">
          <p15:clr>
            <a:srgbClr val="F26B43"/>
          </p15:clr>
        </p15:guide>
        <p15:guide id="17" pos="1473" userDrawn="1">
          <p15:clr>
            <a:srgbClr val="F26B43"/>
          </p15:clr>
        </p15:guide>
        <p15:guide id="18" pos="4286" userDrawn="1">
          <p15:clr>
            <a:srgbClr val="F26B43"/>
          </p15:clr>
        </p15:guide>
        <p15:guide id="19" pos="1128" userDrawn="1">
          <p15:clr>
            <a:srgbClr val="F26B43"/>
          </p15:clr>
        </p15:guide>
        <p15:guide id="20" pos="4621" userDrawn="1">
          <p15:clr>
            <a:srgbClr val="F26B43"/>
          </p15:clr>
        </p15:guide>
        <p15:guide id="21" pos="1024" userDrawn="1">
          <p15:clr>
            <a:srgbClr val="F26B43"/>
          </p15:clr>
        </p15:guide>
        <p15:guide id="22" pos="4736" userDrawn="1">
          <p15:clr>
            <a:srgbClr val="F26B43"/>
          </p15:clr>
        </p15:guide>
        <p15:guide id="23" pos="689" userDrawn="1">
          <p15:clr>
            <a:srgbClr val="F26B43"/>
          </p15:clr>
        </p15:guide>
        <p15:guide id="24" pos="5070" userDrawn="1">
          <p15:clr>
            <a:srgbClr val="F26B43"/>
          </p15:clr>
        </p15:guide>
        <p15:guide id="25" pos="574" userDrawn="1">
          <p15:clr>
            <a:srgbClr val="F26B43"/>
          </p15:clr>
        </p15:guide>
        <p15:guide id="26" pos="5186" userDrawn="1">
          <p15:clr>
            <a:srgbClr val="F26B43"/>
          </p15:clr>
        </p15:guide>
        <p15:guide id="27" orient="horz" pos="2083" userDrawn="1">
          <p15:clr>
            <a:srgbClr val="F26B43"/>
          </p15:clr>
        </p15:guide>
        <p15:guide id="28" orient="horz" pos="2236" userDrawn="1">
          <p15:clr>
            <a:srgbClr val="F26B43"/>
          </p15:clr>
        </p15:guide>
        <p15:guide id="29" orient="horz" pos="1842" userDrawn="1">
          <p15:clr>
            <a:srgbClr val="F26B43"/>
          </p15:clr>
        </p15:guide>
        <p15:guide id="30" orient="horz" pos="2466" userDrawn="1">
          <p15:clr>
            <a:srgbClr val="F26B43"/>
          </p15:clr>
        </p15:guide>
        <p15:guide id="31" orient="horz" pos="1699" userDrawn="1">
          <p15:clr>
            <a:srgbClr val="F26B43"/>
          </p15:clr>
        </p15:guide>
        <p15:guide id="32" orient="horz" pos="2620" userDrawn="1">
          <p15:clr>
            <a:srgbClr val="F26B43"/>
          </p15:clr>
        </p15:guide>
        <p15:guide id="33" orient="horz" pos="1470" userDrawn="1">
          <p15:clr>
            <a:srgbClr val="F26B43"/>
          </p15:clr>
        </p15:guide>
        <p15:guide id="34" orient="horz" pos="2849" userDrawn="1">
          <p15:clr>
            <a:srgbClr val="F26B43"/>
          </p15:clr>
        </p15:guide>
        <p15:guide id="35" orient="horz" pos="1316" userDrawn="1">
          <p15:clr>
            <a:srgbClr val="F26B43"/>
          </p15:clr>
        </p15:guide>
        <p15:guide id="36" orient="horz" pos="3003" userDrawn="1">
          <p15:clr>
            <a:srgbClr val="F26B43"/>
          </p15:clr>
        </p15:guide>
        <p15:guide id="37" orient="horz" pos="1086" userDrawn="1">
          <p15:clr>
            <a:srgbClr val="F26B43"/>
          </p15:clr>
        </p15:guide>
        <p15:guide id="38" orient="horz" pos="3233" userDrawn="1">
          <p15:clr>
            <a:srgbClr val="F26B43"/>
          </p15:clr>
        </p15:guide>
        <p15:guide id="39" orient="horz" pos="933" userDrawn="1">
          <p15:clr>
            <a:srgbClr val="F26B43"/>
          </p15:clr>
        </p15:guide>
        <p15:guide id="40" orient="horz" pos="3386" userDrawn="1">
          <p15:clr>
            <a:srgbClr val="F26B43"/>
          </p15:clr>
        </p15:guide>
        <p15:guide id="41" orient="horz" pos="731" userDrawn="1">
          <p15:clr>
            <a:srgbClr val="F26B43"/>
          </p15:clr>
        </p15:guide>
        <p15:guide id="42" orient="horz" pos="3616" userDrawn="1">
          <p15:clr>
            <a:srgbClr val="F26B43"/>
          </p15:clr>
        </p15:guide>
        <p15:guide id="43" orient="horz" pos="549" userDrawn="1">
          <p15:clr>
            <a:srgbClr val="F26B43"/>
          </p15:clr>
        </p15:guide>
        <p15:guide id="44" orient="horz" pos="377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jpeg"/><Relationship Id="rId1" Type="http://schemas.openxmlformats.org/officeDocument/2006/relationships/slideLayout" Target="../slideLayouts/slideLayout7.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0532227-C5C6-7AE7-AD76-764D2EB4F662}"/>
              </a:ext>
            </a:extLst>
          </p:cNvPr>
          <p:cNvSpPr>
            <a:spLocks noGrp="1"/>
          </p:cNvSpPr>
          <p:nvPr>
            <p:ph type="title"/>
          </p:nvPr>
        </p:nvSpPr>
        <p:spPr>
          <a:xfrm>
            <a:off x="381000" y="2355343"/>
            <a:ext cx="5479473" cy="553998"/>
          </a:xfrm>
        </p:spPr>
        <p:txBody>
          <a:bodyPr/>
          <a:lstStyle/>
          <a:p>
            <a:pPr>
              <a:lnSpc>
                <a:spcPct val="100000"/>
              </a:lnSpc>
            </a:pPr>
            <a:r>
              <a:rPr lang="en-CA" sz="3600" b="1">
                <a:latin typeface="GT Walsheim LC Bold" pitchFamily="2" charset="0"/>
                <a:cs typeface="GT Walsheim LC Bold" pitchFamily="2" charset="0"/>
              </a:rPr>
              <a:t>GBE Business Plan </a:t>
            </a:r>
          </a:p>
        </p:txBody>
      </p:sp>
      <p:sp>
        <p:nvSpPr>
          <p:cNvPr id="6" name="Text Placeholder 5">
            <a:extLst>
              <a:ext uri="{FF2B5EF4-FFF2-40B4-BE49-F238E27FC236}">
                <a16:creationId xmlns:a16="http://schemas.microsoft.com/office/drawing/2014/main" id="{B99A6484-7860-470D-9D11-25A721ECDD0C}"/>
              </a:ext>
            </a:extLst>
          </p:cNvPr>
          <p:cNvSpPr>
            <a:spLocks noGrp="1"/>
          </p:cNvSpPr>
          <p:nvPr>
            <p:ph type="body" sz="quarter" idx="15"/>
          </p:nvPr>
        </p:nvSpPr>
        <p:spPr>
          <a:xfrm>
            <a:off x="381000" y="2909341"/>
            <a:ext cx="4281486" cy="471487"/>
          </a:xfrm>
        </p:spPr>
        <p:txBody>
          <a:bodyPr/>
          <a:lstStyle/>
          <a:p>
            <a:r>
              <a:rPr lang="en-US" sz="2000" b="1">
                <a:latin typeface="GT Walsheim LC Light" pitchFamily="2" charset="0"/>
                <a:cs typeface="GT Walsheim LC Light" pitchFamily="2" charset="0"/>
              </a:rPr>
              <a:t>City of Port Colborne</a:t>
            </a:r>
            <a:endParaRPr lang="en-CA" sz="2000" b="1">
              <a:latin typeface="GT Walsheim LC Light" pitchFamily="2" charset="0"/>
              <a:cs typeface="GT Walsheim LC Light" pitchFamily="2" charset="0"/>
            </a:endParaRPr>
          </a:p>
        </p:txBody>
      </p:sp>
      <p:sp>
        <p:nvSpPr>
          <p:cNvPr id="7" name="Text Placeholder 6">
            <a:extLst>
              <a:ext uri="{FF2B5EF4-FFF2-40B4-BE49-F238E27FC236}">
                <a16:creationId xmlns:a16="http://schemas.microsoft.com/office/drawing/2014/main" id="{27D70963-EB2C-0FD5-B601-A755D5573A62}"/>
              </a:ext>
            </a:extLst>
          </p:cNvPr>
          <p:cNvSpPr>
            <a:spLocks noGrp="1"/>
          </p:cNvSpPr>
          <p:nvPr>
            <p:ph type="body" sz="quarter" idx="16"/>
          </p:nvPr>
        </p:nvSpPr>
        <p:spPr/>
        <p:txBody>
          <a:bodyPr/>
          <a:lstStyle/>
          <a:p>
            <a:r>
              <a:rPr lang="en-CA" sz="1100">
                <a:latin typeface="GT Walsheim LC Light" pitchFamily="2" charset="0"/>
                <a:cs typeface="GT Walsheim LC Light" pitchFamily="2" charset="0"/>
              </a:rPr>
              <a:t>October 2025</a:t>
            </a:r>
          </a:p>
        </p:txBody>
      </p:sp>
      <p:pic>
        <p:nvPicPr>
          <p:cNvPr id="1028" name="Picture 4" descr="Library details: Port Colborne - Libraries in Niagara Cooperative">
            <a:extLst>
              <a:ext uri="{FF2B5EF4-FFF2-40B4-BE49-F238E27FC236}">
                <a16:creationId xmlns:a16="http://schemas.microsoft.com/office/drawing/2014/main" id="{F6B828BB-3694-827A-4F2E-51A87BCC05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8758"/>
          <a:stretch>
            <a:fillRect/>
          </a:stretch>
        </p:blipFill>
        <p:spPr bwMode="auto">
          <a:xfrm>
            <a:off x="6418054" y="232049"/>
            <a:ext cx="2241430" cy="988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6231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F347F-1F46-A0B4-D9E1-E410B1678BE2}"/>
              </a:ext>
            </a:extLst>
          </p:cNvPr>
          <p:cNvSpPr>
            <a:spLocks noGrp="1"/>
          </p:cNvSpPr>
          <p:nvPr>
            <p:ph type="title"/>
          </p:nvPr>
        </p:nvSpPr>
        <p:spPr/>
        <p:txBody>
          <a:bodyPr/>
          <a:lstStyle/>
          <a:p>
            <a:r>
              <a:rPr lang="en-US" dirty="0"/>
              <a:t>Objectives of the Project</a:t>
            </a:r>
          </a:p>
        </p:txBody>
      </p:sp>
      <p:sp>
        <p:nvSpPr>
          <p:cNvPr id="4" name="Slide Number Placeholder 3">
            <a:extLst>
              <a:ext uri="{FF2B5EF4-FFF2-40B4-BE49-F238E27FC236}">
                <a16:creationId xmlns:a16="http://schemas.microsoft.com/office/drawing/2014/main" id="{33DD636A-3323-E885-16C7-B9C54362A92A}"/>
              </a:ext>
            </a:extLst>
          </p:cNvPr>
          <p:cNvSpPr>
            <a:spLocks noGrp="1"/>
          </p:cNvSpPr>
          <p:nvPr>
            <p:ph type="sldNum" sz="quarter" idx="4"/>
          </p:nvPr>
        </p:nvSpPr>
        <p:spPr/>
        <p:txBody>
          <a:bodyPr/>
          <a:lstStyle/>
          <a:p>
            <a:fld id="{1AB31D9B-80B6-41F8-B283-556E26E6158E}" type="slidenum">
              <a:rPr lang="en-GB" smtClean="0"/>
              <a:pPr/>
              <a:t>10</a:t>
            </a:fld>
            <a:endParaRPr lang="en-GB"/>
          </a:p>
        </p:txBody>
      </p:sp>
      <p:sp>
        <p:nvSpPr>
          <p:cNvPr id="6" name="TextBox 5">
            <a:extLst>
              <a:ext uri="{FF2B5EF4-FFF2-40B4-BE49-F238E27FC236}">
                <a16:creationId xmlns:a16="http://schemas.microsoft.com/office/drawing/2014/main" id="{6CC4938A-33BB-955B-C18F-30E5148095CA}"/>
              </a:ext>
            </a:extLst>
          </p:cNvPr>
          <p:cNvSpPr txBox="1"/>
          <p:nvPr/>
        </p:nvSpPr>
        <p:spPr>
          <a:xfrm>
            <a:off x="381000" y="1150310"/>
            <a:ext cx="8417943" cy="4247317"/>
          </a:xfrm>
          <a:prstGeom prst="rect">
            <a:avLst/>
          </a:prstGeom>
          <a:noFill/>
        </p:spPr>
        <p:txBody>
          <a:bodyPr wrap="square" lIns="91440" tIns="45720" rIns="91440" bIns="45720" anchor="t">
            <a:spAutoFit/>
          </a:bodyPr>
          <a:lstStyle/>
          <a:p>
            <a:pPr>
              <a:buNone/>
            </a:pPr>
            <a:r>
              <a:rPr lang="en-US" sz="1600" dirty="0">
                <a:latin typeface="GT Walsheim LC Light"/>
                <a:cs typeface="GT Walsheim LC Light" pitchFamily="2" charset="0"/>
              </a:rPr>
              <a:t>The objectives of the project is to deliver water and wastewater infrastructure to support the development of the ESEL, the AK Battery Separator Plant, and future residential lands in Port Colborne. This includes the creation of a new water district and the establishment of two MSCs to own, manage, and finance the infrastructure assets required for servicing.</a:t>
            </a:r>
          </a:p>
          <a:p>
            <a:pPr>
              <a:buNone/>
            </a:pPr>
            <a:r>
              <a:rPr lang="en-US" sz="1600" b="1" dirty="0">
                <a:latin typeface="GT Walsheim LC Light" pitchFamily="2" charset="0"/>
                <a:cs typeface="GT Walsheim LC Light" pitchFamily="2" charset="0"/>
              </a:rPr>
              <a:t>The project enables:</a:t>
            </a:r>
          </a:p>
          <a:p>
            <a:pPr marL="285750" indent="-285750">
              <a:buFont typeface="Arial" panose="020B0604020202020204" pitchFamily="34" charset="0"/>
              <a:buChar char="•"/>
            </a:pPr>
            <a:r>
              <a:rPr lang="en-US" sz="1600" dirty="0">
                <a:latin typeface="GT Walsheim LC Light" pitchFamily="2" charset="0"/>
                <a:cs typeface="GT Walsheim LC Light" pitchFamily="2" charset="0"/>
              </a:rPr>
              <a:t>Timely delivery of water and wastewater services to meet AK’s operational timeline for Phase 1 by Q3 2027.</a:t>
            </a:r>
          </a:p>
          <a:p>
            <a:pPr marL="285750" indent="-285750">
              <a:buFont typeface="Arial" panose="020B0604020202020204" pitchFamily="34" charset="0"/>
              <a:buChar char="•"/>
            </a:pPr>
            <a:r>
              <a:rPr lang="en-US" sz="1600" dirty="0">
                <a:latin typeface="GT Walsheim LC Light" pitchFamily="2" charset="0"/>
                <a:cs typeface="GT Walsheim LC Light" pitchFamily="2" charset="0"/>
              </a:rPr>
              <a:t>Long-term servicing capacity for industrial and residential growth in the ESEL and surrounding lands.</a:t>
            </a:r>
          </a:p>
          <a:p>
            <a:pPr marL="285750" indent="-285750">
              <a:buFont typeface="Arial" panose="020B0604020202020204" pitchFamily="34" charset="0"/>
              <a:buChar char="•"/>
            </a:pPr>
            <a:r>
              <a:rPr lang="en-US" sz="1600" dirty="0">
                <a:latin typeface="GT Walsheim LC Light" pitchFamily="2" charset="0"/>
                <a:cs typeface="GT Walsheim LC Light" pitchFamily="2" charset="0"/>
              </a:rPr>
              <a:t>A sustainable financial model through fixed and variable service charges, ensuring predictable revenue to cover capital and operating costs.</a:t>
            </a:r>
          </a:p>
          <a:p>
            <a:pPr marL="285750" indent="-285750">
              <a:buFont typeface="Arial" panose="020B0604020202020204" pitchFamily="34" charset="0"/>
              <a:buChar char="•"/>
            </a:pPr>
            <a:r>
              <a:rPr lang="en-US" sz="1600" dirty="0">
                <a:latin typeface="GT Walsheim LC Light" pitchFamily="2" charset="0"/>
                <a:cs typeface="GT Walsheim LC Light" pitchFamily="2" charset="0"/>
              </a:rPr>
              <a:t>Clear asset ownership and governance through the MSC structure, with a HOLDCO providing oversight and the Region assuming operational responsibilities over time.</a:t>
            </a:r>
          </a:p>
          <a:p>
            <a:r>
              <a:rPr lang="en-US" sz="1600" dirty="0">
                <a:latin typeface="GT Walsheim LC Light"/>
                <a:cs typeface="GT Walsheim LC Light" pitchFamily="2" charset="0"/>
              </a:rPr>
              <a:t>This infrastructure investment is part of Port Colborne’s economic development strategy. It also supports long-term housing and industrial growth across the ESEL.</a:t>
            </a:r>
          </a:p>
        </p:txBody>
      </p:sp>
      <p:pic>
        <p:nvPicPr>
          <p:cNvPr id="8" name="Picture 7">
            <a:extLst>
              <a:ext uri="{FF2B5EF4-FFF2-40B4-BE49-F238E27FC236}">
                <a16:creationId xmlns:a16="http://schemas.microsoft.com/office/drawing/2014/main" id="{C8184EA3-D086-2CE8-CB73-4FC79C9295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D327A503-A181-0AC9-9B0E-2A478ACE0B42}"/>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5639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1CCB8-8F4E-5B67-A5C8-A9149080AFDF}"/>
              </a:ext>
            </a:extLst>
          </p:cNvPr>
          <p:cNvSpPr>
            <a:spLocks noGrp="1"/>
          </p:cNvSpPr>
          <p:nvPr>
            <p:ph type="title"/>
          </p:nvPr>
        </p:nvSpPr>
        <p:spPr/>
        <p:txBody>
          <a:bodyPr/>
          <a:lstStyle/>
          <a:p>
            <a:r>
              <a:rPr lang="en-US"/>
              <a:t>Justification &amp; Strategic Rationale</a:t>
            </a:r>
          </a:p>
        </p:txBody>
      </p:sp>
      <p:sp>
        <p:nvSpPr>
          <p:cNvPr id="4" name="Slide Number Placeholder 3">
            <a:extLst>
              <a:ext uri="{FF2B5EF4-FFF2-40B4-BE49-F238E27FC236}">
                <a16:creationId xmlns:a16="http://schemas.microsoft.com/office/drawing/2014/main" id="{289DFB39-1BEC-A5F8-0566-EA1158E5A8FA}"/>
              </a:ext>
            </a:extLst>
          </p:cNvPr>
          <p:cNvSpPr>
            <a:spLocks noGrp="1"/>
          </p:cNvSpPr>
          <p:nvPr>
            <p:ph type="sldNum" sz="quarter" idx="4"/>
          </p:nvPr>
        </p:nvSpPr>
        <p:spPr/>
        <p:txBody>
          <a:bodyPr/>
          <a:lstStyle/>
          <a:p>
            <a:fld id="{1AB31D9B-80B6-41F8-B283-556E26E6158E}" type="slidenum">
              <a:rPr lang="en-GB" smtClean="0"/>
              <a:pPr/>
              <a:t>11</a:t>
            </a:fld>
            <a:endParaRPr lang="en-GB"/>
          </a:p>
        </p:txBody>
      </p:sp>
      <p:sp>
        <p:nvSpPr>
          <p:cNvPr id="6" name="TextBox 5">
            <a:extLst>
              <a:ext uri="{FF2B5EF4-FFF2-40B4-BE49-F238E27FC236}">
                <a16:creationId xmlns:a16="http://schemas.microsoft.com/office/drawing/2014/main" id="{25C07E58-ABB2-662B-ACEA-DC31419FBBE1}"/>
              </a:ext>
            </a:extLst>
          </p:cNvPr>
          <p:cNvSpPr txBox="1"/>
          <p:nvPr/>
        </p:nvSpPr>
        <p:spPr>
          <a:xfrm>
            <a:off x="389626" y="839934"/>
            <a:ext cx="8373374" cy="5524589"/>
          </a:xfrm>
          <a:prstGeom prst="rect">
            <a:avLst/>
          </a:prstGeom>
          <a:noFill/>
        </p:spPr>
        <p:txBody>
          <a:bodyPr wrap="square" lIns="91440" tIns="45720" rIns="91440" bIns="45720" anchor="t">
            <a:spAutoFit/>
          </a:bodyPr>
          <a:lstStyle/>
          <a:p>
            <a:pPr>
              <a:buNone/>
            </a:pPr>
            <a:r>
              <a:rPr lang="en-US" sz="1400" b="1" dirty="0">
                <a:latin typeface="GT Walsheim LC Light" pitchFamily="2" charset="0"/>
                <a:cs typeface="GT Walsheim LC Light" pitchFamily="2" charset="0"/>
              </a:rPr>
              <a:t>Strategic Alignment</a:t>
            </a:r>
          </a:p>
          <a:p>
            <a:pPr marL="285750" indent="-285750">
              <a:buFont typeface="Arial" panose="020B0604020202020204" pitchFamily="34" charset="0"/>
              <a:buChar char="•"/>
            </a:pPr>
            <a:r>
              <a:rPr lang="en-US" sz="1400" dirty="0">
                <a:latin typeface="GT Walsheim LC Light"/>
                <a:cs typeface="GT Walsheim LC Light" pitchFamily="2" charset="0"/>
              </a:rPr>
              <a:t>The project directly supports AK’s $1.6 billion investment and the development of the ESEL, aligning with Port Colborne’s infrastructure program and long-term economic growth strategy.</a:t>
            </a:r>
          </a:p>
          <a:p>
            <a:pPr>
              <a:buNone/>
            </a:pPr>
            <a:r>
              <a:rPr lang="en-US" sz="1400" b="1" dirty="0">
                <a:latin typeface="GT Walsheim LC Light" pitchFamily="2" charset="0"/>
                <a:cs typeface="GT Walsheim LC Light" pitchFamily="2" charset="0"/>
              </a:rPr>
              <a:t>Timely Infrastructure Delivery</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Water and wastewater services are scheduled to meet AK’s operational needs, with water infrastructure in place by April 2026 and wastewater systems by September 2027, ensuring the project remains on track.</a:t>
            </a:r>
          </a:p>
          <a:p>
            <a:pPr>
              <a:buNone/>
            </a:pPr>
            <a:r>
              <a:rPr lang="en-US" sz="1400" b="1" dirty="0">
                <a:latin typeface="GT Walsheim LC Light" pitchFamily="2" charset="0"/>
                <a:cs typeface="GT Walsheim LC Light" pitchFamily="2" charset="0"/>
              </a:rPr>
              <a:t>Financial Sustainability</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MSC structure enables off-balance-sheet financing, backed by long-term service agreements with AK and future users. This model ensures predictable revenue streams to cover both capital repayment and ongoing operational costs, minimizing financial risk to the City.</a:t>
            </a:r>
          </a:p>
          <a:p>
            <a:pPr>
              <a:buNone/>
            </a:pPr>
            <a:r>
              <a:rPr lang="en-US" sz="1400" b="1" dirty="0">
                <a:latin typeface="GT Walsheim LC Light" pitchFamily="2" charset="0"/>
                <a:cs typeface="GT Walsheim LC Light" pitchFamily="2" charset="0"/>
              </a:rPr>
              <a:t>Governance and Ownership</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Infrastructure assets will be owned by a dedicated MSC, which will also hold the project’s debt. A separate HOLDCO will act as the sole shareholder, providing governance oversight and ensuring alignment with municipal objectives. The HOLDCO is structured to allow ownership of additional assets in the future, offering flexibility for broader municipal investment opportunities. Operational responsibilities will transition to the Niagara Region post-construction, ensuring long-term service continuity.</a:t>
            </a:r>
          </a:p>
          <a:p>
            <a:r>
              <a:rPr lang="en-US" sz="1400" b="1" dirty="0">
                <a:latin typeface="GT Walsheim LC Light" pitchFamily="2" charset="0"/>
                <a:cs typeface="GT Walsheim LC Light" pitchFamily="2" charset="0"/>
              </a:rPr>
              <a:t>Scalable Growth and Economic Impact</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infrastructure is designed to exceed the immediate needs of AK, enabling future industrial and residential development across 1,000 acres. The project is expected to create 300 direct jobs and stimulate broader regional economic activity through supporting industries.</a:t>
            </a:r>
          </a:p>
        </p:txBody>
      </p:sp>
      <p:pic>
        <p:nvPicPr>
          <p:cNvPr id="5" name="Picture 4">
            <a:extLst>
              <a:ext uri="{FF2B5EF4-FFF2-40B4-BE49-F238E27FC236}">
                <a16:creationId xmlns:a16="http://schemas.microsoft.com/office/drawing/2014/main" id="{D69C7500-754B-ECCD-41C0-C20147DAEB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5A03CE51-CA6B-01F0-821A-ECCB06FCAF32}"/>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4376042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1F645-CCA5-E12C-9D55-E1AF485B89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2AAA97-8C51-5DA2-9D1C-7C6E0F6A7FD2}"/>
              </a:ext>
            </a:extLst>
          </p:cNvPr>
          <p:cNvSpPr>
            <a:spLocks noGrp="1"/>
          </p:cNvSpPr>
          <p:nvPr>
            <p:ph type="title"/>
          </p:nvPr>
        </p:nvSpPr>
        <p:spPr/>
        <p:txBody>
          <a:bodyPr/>
          <a:lstStyle/>
          <a:p>
            <a:r>
              <a:rPr lang="en-US"/>
              <a:t>Delivery &amp; Oversight</a:t>
            </a:r>
          </a:p>
        </p:txBody>
      </p:sp>
      <p:sp>
        <p:nvSpPr>
          <p:cNvPr id="5" name="Slide Number Placeholder 4">
            <a:extLst>
              <a:ext uri="{FF2B5EF4-FFF2-40B4-BE49-F238E27FC236}">
                <a16:creationId xmlns:a16="http://schemas.microsoft.com/office/drawing/2014/main" id="{164FB7B0-E7FA-42E9-2D89-CBA50C811F95}"/>
              </a:ext>
            </a:extLst>
          </p:cNvPr>
          <p:cNvSpPr>
            <a:spLocks noGrp="1"/>
          </p:cNvSpPr>
          <p:nvPr>
            <p:ph type="sldNum" sz="quarter" idx="4"/>
          </p:nvPr>
        </p:nvSpPr>
        <p:spPr/>
        <p:txBody>
          <a:bodyPr/>
          <a:lstStyle/>
          <a:p>
            <a:fld id="{1AB31D9B-80B6-41F8-B283-556E26E6158E}" type="slidenum">
              <a:rPr lang="en-GB" smtClean="0"/>
              <a:pPr/>
              <a:t>12</a:t>
            </a:fld>
            <a:endParaRPr lang="en-GB"/>
          </a:p>
        </p:txBody>
      </p:sp>
      <p:sp>
        <p:nvSpPr>
          <p:cNvPr id="3" name="Footer Placeholder 5">
            <a:extLst>
              <a:ext uri="{FF2B5EF4-FFF2-40B4-BE49-F238E27FC236}">
                <a16:creationId xmlns:a16="http://schemas.microsoft.com/office/drawing/2014/main" id="{7E39C432-BB5C-94FA-5240-74EAC578BC3C}"/>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781455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15605-6F3D-9627-42E9-30A454D19A43}"/>
              </a:ext>
            </a:extLst>
          </p:cNvPr>
          <p:cNvSpPr>
            <a:spLocks noGrp="1"/>
          </p:cNvSpPr>
          <p:nvPr>
            <p:ph type="title"/>
          </p:nvPr>
        </p:nvSpPr>
        <p:spPr/>
        <p:txBody>
          <a:bodyPr/>
          <a:lstStyle/>
          <a:p>
            <a:r>
              <a:rPr lang="en-US"/>
              <a:t>Service Delivery Model</a:t>
            </a:r>
          </a:p>
        </p:txBody>
      </p:sp>
      <p:sp>
        <p:nvSpPr>
          <p:cNvPr id="4" name="Slide Number Placeholder 3">
            <a:extLst>
              <a:ext uri="{FF2B5EF4-FFF2-40B4-BE49-F238E27FC236}">
                <a16:creationId xmlns:a16="http://schemas.microsoft.com/office/drawing/2014/main" id="{6CA9ADE2-8E5D-1C39-B7DC-84856FB7BEFB}"/>
              </a:ext>
            </a:extLst>
          </p:cNvPr>
          <p:cNvSpPr>
            <a:spLocks noGrp="1"/>
          </p:cNvSpPr>
          <p:nvPr>
            <p:ph type="sldNum" sz="quarter" idx="4"/>
          </p:nvPr>
        </p:nvSpPr>
        <p:spPr/>
        <p:txBody>
          <a:bodyPr/>
          <a:lstStyle/>
          <a:p>
            <a:fld id="{1AB31D9B-80B6-41F8-B283-556E26E6158E}" type="slidenum">
              <a:rPr lang="en-GB" smtClean="0"/>
              <a:pPr/>
              <a:t>13</a:t>
            </a:fld>
            <a:endParaRPr lang="en-GB"/>
          </a:p>
        </p:txBody>
      </p:sp>
      <p:sp>
        <p:nvSpPr>
          <p:cNvPr id="6" name="TextBox 5">
            <a:extLst>
              <a:ext uri="{FF2B5EF4-FFF2-40B4-BE49-F238E27FC236}">
                <a16:creationId xmlns:a16="http://schemas.microsoft.com/office/drawing/2014/main" id="{B8CA1BA3-A3D9-745A-E540-4BE19F8B3E53}"/>
              </a:ext>
            </a:extLst>
          </p:cNvPr>
          <p:cNvSpPr txBox="1"/>
          <p:nvPr/>
        </p:nvSpPr>
        <p:spPr>
          <a:xfrm>
            <a:off x="381000" y="1065672"/>
            <a:ext cx="8381995" cy="4939814"/>
          </a:xfrm>
          <a:prstGeom prst="rect">
            <a:avLst/>
          </a:prstGeom>
          <a:noFill/>
        </p:spPr>
        <p:txBody>
          <a:bodyPr wrap="square">
            <a:spAutoFit/>
          </a:bodyPr>
          <a:lstStyle/>
          <a:p>
            <a:pPr>
              <a:buNone/>
            </a:pPr>
            <a:r>
              <a:rPr lang="en-US" sz="1400" dirty="0">
                <a:latin typeface="GT Walsheim LC Light" pitchFamily="2" charset="0"/>
                <a:cs typeface="GT Walsheim LC Light" pitchFamily="2" charset="0"/>
              </a:rPr>
              <a:t>The servicing project will be delivered through a coordinated infrastructure plan anchored by the creation of two MSCs. This structure enables efficient delivery of water and wastewater services while maintaining financial and operational separation from the City’s core administration.</a:t>
            </a:r>
          </a:p>
          <a:p>
            <a:pPr>
              <a:buNone/>
            </a:pPr>
            <a:r>
              <a:rPr lang="en-US" sz="1400" b="1" dirty="0">
                <a:latin typeface="GT Walsheim LC Light" pitchFamily="2" charset="0"/>
                <a:cs typeface="GT Walsheim LC Light" pitchFamily="2" charset="0"/>
              </a:rPr>
              <a:t>Infrastructure Scope and Ownership</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Infrastructure MSC will own all physical servicing assets within the newly established water district, including watermains, wastewater pumping stations (ESEL and Snider Road), and associated </a:t>
            </a:r>
            <a:r>
              <a:rPr lang="en-US" sz="1400" dirty="0" err="1">
                <a:latin typeface="GT Walsheim LC Light" pitchFamily="2" charset="0"/>
                <a:cs typeface="GT Walsheim LC Light" pitchFamily="2" charset="0"/>
              </a:rPr>
              <a:t>forcemains</a:t>
            </a:r>
            <a:r>
              <a:rPr lang="en-US" sz="1400" dirty="0">
                <a:latin typeface="GT Walsheim LC Light" pitchFamily="2" charset="0"/>
                <a:cs typeface="GT Walsheim LC Light" pitchFamily="2" charset="0"/>
              </a:rPr>
              <a:t>. It will also hold the debt required to finance the project, creating a dedicated vehicle for infrastructure investment that operates independently from the City’s balance sheet.</a:t>
            </a:r>
          </a:p>
          <a:p>
            <a:pPr>
              <a:buNone/>
            </a:pPr>
            <a:r>
              <a:rPr lang="en-US" sz="1400" b="1" dirty="0">
                <a:latin typeface="GT Walsheim LC Light" pitchFamily="2" charset="0"/>
                <a:cs typeface="GT Walsheim LC Light" pitchFamily="2" charset="0"/>
              </a:rPr>
              <a:t>Roles in Design, Construction, and Operation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City will oversee the initial design and construction phases to ensure compliance with municipal standards. Upon completion, the Niagara Region will operate and maintain the wastewater pumping stations and </a:t>
            </a:r>
            <a:r>
              <a:rPr lang="en-US" sz="1400" dirty="0" err="1">
                <a:latin typeface="GT Walsheim LC Light" pitchFamily="2" charset="0"/>
                <a:cs typeface="GT Walsheim LC Light" pitchFamily="2" charset="0"/>
              </a:rPr>
              <a:t>forcemains</a:t>
            </a:r>
            <a:r>
              <a:rPr lang="en-US" sz="1400" dirty="0">
                <a:latin typeface="GT Walsheim LC Light" pitchFamily="2" charset="0"/>
                <a:cs typeface="GT Walsheim LC Light" pitchFamily="2" charset="0"/>
              </a:rPr>
              <a:t> on behalf of the MSC. A full asset transfer to the Region is anticipated at a later stage.</a:t>
            </a:r>
          </a:p>
          <a:p>
            <a:pPr>
              <a:buNone/>
            </a:pPr>
            <a:r>
              <a:rPr lang="en-US" sz="1400" b="1" dirty="0">
                <a:latin typeface="GT Walsheim LC Light" pitchFamily="2" charset="0"/>
                <a:cs typeface="GT Walsheim LC Light" pitchFamily="2" charset="0"/>
              </a:rPr>
              <a:t>Revenue Generation Model</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Long-term service agreements with AK and future users will provide predictable revenue streams through fixed and variable charges. These revenues will support both capital repayment and ongoing operational costs, ensuring long-term financial sustainability.</a:t>
            </a:r>
          </a:p>
          <a:p>
            <a:pPr>
              <a:buNone/>
            </a:pPr>
            <a:r>
              <a:rPr lang="en-US" sz="1400" dirty="0">
                <a:latin typeface="GT Walsheim LC Light" pitchFamily="2" charset="0"/>
                <a:cs typeface="GT Walsheim LC Light" pitchFamily="2" charset="0"/>
              </a:rPr>
              <a:t>Appendix A provides a visual overview of the infrastructure and service delivery evolution, illustrating the transition from current state through construction and into post-construction operations.</a:t>
            </a:r>
          </a:p>
        </p:txBody>
      </p:sp>
      <p:pic>
        <p:nvPicPr>
          <p:cNvPr id="7" name="Picture 6">
            <a:extLst>
              <a:ext uri="{FF2B5EF4-FFF2-40B4-BE49-F238E27FC236}">
                <a16:creationId xmlns:a16="http://schemas.microsoft.com/office/drawing/2014/main" id="{F733E9A8-C031-FC91-D44F-8BEFA3E3A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5" name="Footer Placeholder 5">
            <a:extLst>
              <a:ext uri="{FF2B5EF4-FFF2-40B4-BE49-F238E27FC236}">
                <a16:creationId xmlns:a16="http://schemas.microsoft.com/office/drawing/2014/main" id="{B0AF400A-B20C-792D-D741-C62AC95EAAC9}"/>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6465086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92E56-8219-E549-2B1D-1DE4F9BCEC78}"/>
              </a:ext>
            </a:extLst>
          </p:cNvPr>
          <p:cNvSpPr>
            <a:spLocks noGrp="1"/>
          </p:cNvSpPr>
          <p:nvPr>
            <p:ph type="title"/>
          </p:nvPr>
        </p:nvSpPr>
        <p:spPr/>
        <p:txBody>
          <a:bodyPr/>
          <a:lstStyle/>
          <a:p>
            <a:r>
              <a:rPr lang="en-US" dirty="0"/>
              <a:t>Governance Structure</a:t>
            </a:r>
          </a:p>
        </p:txBody>
      </p:sp>
      <p:sp>
        <p:nvSpPr>
          <p:cNvPr id="4" name="Slide Number Placeholder 3">
            <a:extLst>
              <a:ext uri="{FF2B5EF4-FFF2-40B4-BE49-F238E27FC236}">
                <a16:creationId xmlns:a16="http://schemas.microsoft.com/office/drawing/2014/main" id="{7B16F1C2-AF22-C91E-A9D2-145D6EA661B5}"/>
              </a:ext>
            </a:extLst>
          </p:cNvPr>
          <p:cNvSpPr>
            <a:spLocks noGrp="1"/>
          </p:cNvSpPr>
          <p:nvPr>
            <p:ph type="sldNum" sz="quarter" idx="4"/>
          </p:nvPr>
        </p:nvSpPr>
        <p:spPr/>
        <p:txBody>
          <a:bodyPr/>
          <a:lstStyle/>
          <a:p>
            <a:fld id="{1AB31D9B-80B6-41F8-B283-556E26E6158E}" type="slidenum">
              <a:rPr lang="en-GB" smtClean="0"/>
              <a:pPr/>
              <a:t>14</a:t>
            </a:fld>
            <a:endParaRPr lang="en-GB"/>
          </a:p>
        </p:txBody>
      </p:sp>
      <p:sp>
        <p:nvSpPr>
          <p:cNvPr id="6" name="TextBox 5">
            <a:extLst>
              <a:ext uri="{FF2B5EF4-FFF2-40B4-BE49-F238E27FC236}">
                <a16:creationId xmlns:a16="http://schemas.microsoft.com/office/drawing/2014/main" id="{19079859-1414-B7B0-4CFB-A3159C3606B2}"/>
              </a:ext>
            </a:extLst>
          </p:cNvPr>
          <p:cNvSpPr txBox="1"/>
          <p:nvPr/>
        </p:nvSpPr>
        <p:spPr>
          <a:xfrm>
            <a:off x="123444" y="854254"/>
            <a:ext cx="8897112" cy="5688737"/>
          </a:xfrm>
          <a:prstGeom prst="rect">
            <a:avLst/>
          </a:prstGeom>
          <a:noFill/>
        </p:spPr>
        <p:txBody>
          <a:bodyPr wrap="square" lIns="91440" tIns="45720" rIns="91440" bIns="45720" anchor="t">
            <a:spAutoFit/>
          </a:bodyPr>
          <a:lstStyle/>
          <a:p>
            <a:pPr>
              <a:spcAft>
                <a:spcPts val="400"/>
              </a:spcAft>
            </a:pPr>
            <a:r>
              <a:rPr lang="en-US" sz="1400" dirty="0">
                <a:latin typeface="GT Walsheim LC Light"/>
                <a:cs typeface="GT Walsheim LC Light" pitchFamily="2" charset="0"/>
              </a:rPr>
              <a:t>The governance framework is designed to provide transparency, accountability, and alignment with municipal objectives through a two-tier MSC structure.</a:t>
            </a:r>
          </a:p>
          <a:p>
            <a:pPr>
              <a:spcAft>
                <a:spcPts val="400"/>
              </a:spcAft>
            </a:pPr>
            <a:r>
              <a:rPr lang="en-US" sz="1400" b="1" dirty="0">
                <a:latin typeface="GT Walsheim LC Light" pitchFamily="2" charset="0"/>
                <a:cs typeface="GT Walsheim LC Light" pitchFamily="2" charset="0"/>
              </a:rPr>
              <a:t>Independent Oversight via the Infrastructure MSC</a:t>
            </a:r>
          </a:p>
          <a:p>
            <a:pPr marL="285750" indent="-285750">
              <a:spcAft>
                <a:spcPts val="400"/>
              </a:spcAft>
              <a:buFont typeface="Arial" panose="020B0604020202020204" pitchFamily="34" charset="0"/>
              <a:buChar char="•"/>
            </a:pPr>
            <a:r>
              <a:rPr lang="en-US" sz="1400" dirty="0">
                <a:latin typeface="GT Walsheim LC Light" pitchFamily="2" charset="0"/>
                <a:cs typeface="GT Walsheim LC Light" pitchFamily="2" charset="0"/>
              </a:rPr>
              <a:t>The Infrastructure MSC will operate independently from the City’s day-to-day administration, allowing for focused oversight of infrastructure delivery and financing. This independence supports agile decision-making and dedicated management of complex servicing assets.</a:t>
            </a:r>
          </a:p>
          <a:p>
            <a:pPr>
              <a:spcAft>
                <a:spcPts val="400"/>
              </a:spcAft>
            </a:pPr>
            <a:r>
              <a:rPr lang="en-US" sz="1400" b="1" dirty="0">
                <a:latin typeface="GT Walsheim LC Light" pitchFamily="2" charset="0"/>
                <a:cs typeface="GT Walsheim LC Light" pitchFamily="2" charset="0"/>
              </a:rPr>
              <a:t>Strategic Control through the HOLDCO</a:t>
            </a:r>
          </a:p>
          <a:p>
            <a:pPr marL="285750" indent="-285750">
              <a:spcAft>
                <a:spcPts val="400"/>
              </a:spcAft>
              <a:buFont typeface="Arial" panose="020B0604020202020204" pitchFamily="34" charset="0"/>
              <a:buChar char="•"/>
            </a:pPr>
            <a:r>
              <a:rPr lang="en-US" sz="1400" dirty="0">
                <a:latin typeface="GT Walsheim LC Light" pitchFamily="2" charset="0"/>
                <a:cs typeface="GT Walsheim LC Light" pitchFamily="2" charset="0"/>
              </a:rPr>
              <a:t>The HOLDCO will act as the sole shareholder of the Infrastructure MSC. Governed by a Board of Directors appointed by Council, the HOLDCO will include municipal staff and external advisors with relevant expertise. The Board will be responsible for strategic oversight, financial stewardship, and ensuring the MSC adheres to its mandate and municipal priorities.</a:t>
            </a:r>
          </a:p>
          <a:p>
            <a:pPr>
              <a:spcAft>
                <a:spcPts val="400"/>
              </a:spcAft>
            </a:pPr>
            <a:r>
              <a:rPr lang="en-US" sz="1400" b="1" dirty="0">
                <a:latin typeface="GT Walsheim LC Light" pitchFamily="2" charset="0"/>
                <a:cs typeface="GT Walsheim LC Light" pitchFamily="2" charset="0"/>
              </a:rPr>
              <a:t>Transparency and Reporting Mechanisms</a:t>
            </a:r>
          </a:p>
          <a:p>
            <a:pPr marL="285750" indent="-285750">
              <a:spcAft>
                <a:spcPts val="400"/>
              </a:spcAft>
              <a:buFont typeface="Arial" panose="020B0604020202020204" pitchFamily="34" charset="0"/>
              <a:buChar char="•"/>
            </a:pPr>
            <a:r>
              <a:rPr lang="en-US" sz="1400" dirty="0">
                <a:latin typeface="GT Walsheim LC Light" pitchFamily="2" charset="0"/>
                <a:cs typeface="GT Walsheim LC Light" pitchFamily="2" charset="0"/>
              </a:rPr>
              <a:t>To maintain accountability, the HOLDCO will convene an Annual General Meeting (AGM) to present audited financial statements, operational updates, and strategic plans. Council will receive regular updates through formal reporting channels, including annual reports, performance dashboards, and milestone briefings tied to servicing delivery and financial performance.</a:t>
            </a:r>
          </a:p>
          <a:p>
            <a:pPr>
              <a:spcAft>
                <a:spcPts val="400"/>
              </a:spcAft>
            </a:pPr>
            <a:r>
              <a:rPr lang="en-US" sz="1400" b="1" dirty="0">
                <a:latin typeface="GT Walsheim LC Light" pitchFamily="2" charset="0"/>
                <a:cs typeface="GT Walsheim LC Light" pitchFamily="2" charset="0"/>
              </a:rPr>
              <a:t>Governance Outcome</a:t>
            </a:r>
          </a:p>
          <a:p>
            <a:pPr marL="285750" indent="-285750">
              <a:spcAft>
                <a:spcPts val="400"/>
              </a:spcAft>
              <a:buFont typeface="Arial" panose="020B0604020202020204" pitchFamily="34" charset="0"/>
              <a:buChar char="•"/>
            </a:pPr>
            <a:r>
              <a:rPr lang="en-US" sz="1400" dirty="0">
                <a:latin typeface="GT Walsheim LC Light"/>
                <a:cs typeface="GT Walsheim LC Light" pitchFamily="2" charset="0"/>
              </a:rPr>
              <a:t>The structure is designed so that Council retains visibility and strategic control over the servicing initiative, while empowering the MSC to operate with the flexibility required to manage infrastructure and financing effectively.</a:t>
            </a:r>
          </a:p>
          <a:p>
            <a:pPr>
              <a:spcAft>
                <a:spcPts val="400"/>
              </a:spcAft>
            </a:pPr>
            <a:r>
              <a:rPr lang="en-US" sz="1400" b="1" dirty="0">
                <a:latin typeface="GT Walsheim LC Light"/>
                <a:cs typeface="GT Walsheim LC Light" pitchFamily="2" charset="0"/>
              </a:rPr>
              <a:t>Legal Advisory Support</a:t>
            </a:r>
          </a:p>
          <a:p>
            <a:pPr marL="285750" indent="-285750">
              <a:spcAft>
                <a:spcPts val="400"/>
              </a:spcAft>
              <a:buFont typeface="Arial" panose="020B0604020202020204" pitchFamily="34" charset="0"/>
              <a:buChar char="•"/>
            </a:pPr>
            <a:r>
              <a:rPr lang="en-US" sz="1400" dirty="0">
                <a:latin typeface="GT Walsheim LC Light"/>
                <a:cs typeface="GT Walsheim LC Light" pitchFamily="2" charset="0"/>
              </a:rPr>
              <a:t>The City has been advised on the governance structure by Borden Ladner Gervais LLP (BLG), ensuring alignment with applicable legislation and best practices in municipal governance.</a:t>
            </a:r>
          </a:p>
        </p:txBody>
      </p:sp>
      <p:pic>
        <p:nvPicPr>
          <p:cNvPr id="5" name="Picture 4">
            <a:extLst>
              <a:ext uri="{FF2B5EF4-FFF2-40B4-BE49-F238E27FC236}">
                <a16:creationId xmlns:a16="http://schemas.microsoft.com/office/drawing/2014/main" id="{CF3E9D66-0300-8353-4392-B457968D16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60FB9A5E-2B26-77A7-5880-7FBF71702704}"/>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613068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BA84D-42CE-C97C-74F2-B1947C42CC7C}"/>
              </a:ext>
            </a:extLst>
          </p:cNvPr>
          <p:cNvSpPr>
            <a:spLocks noGrp="1"/>
          </p:cNvSpPr>
          <p:nvPr>
            <p:ph type="title"/>
          </p:nvPr>
        </p:nvSpPr>
        <p:spPr/>
        <p:txBody>
          <a:bodyPr/>
          <a:lstStyle/>
          <a:p>
            <a:r>
              <a:rPr lang="en-US" dirty="0"/>
              <a:t>Risk Management Framework</a:t>
            </a:r>
          </a:p>
        </p:txBody>
      </p:sp>
      <p:sp>
        <p:nvSpPr>
          <p:cNvPr id="4" name="Slide Number Placeholder 3">
            <a:extLst>
              <a:ext uri="{FF2B5EF4-FFF2-40B4-BE49-F238E27FC236}">
                <a16:creationId xmlns:a16="http://schemas.microsoft.com/office/drawing/2014/main" id="{8F300C44-5C73-8714-500E-3C69EF6ACFE6}"/>
              </a:ext>
            </a:extLst>
          </p:cNvPr>
          <p:cNvSpPr>
            <a:spLocks noGrp="1"/>
          </p:cNvSpPr>
          <p:nvPr>
            <p:ph type="sldNum" sz="quarter" idx="4"/>
          </p:nvPr>
        </p:nvSpPr>
        <p:spPr/>
        <p:txBody>
          <a:bodyPr/>
          <a:lstStyle/>
          <a:p>
            <a:fld id="{1AB31D9B-80B6-41F8-B283-556E26E6158E}" type="slidenum">
              <a:rPr lang="en-GB" smtClean="0"/>
              <a:pPr/>
              <a:t>15</a:t>
            </a:fld>
            <a:endParaRPr lang="en-GB"/>
          </a:p>
        </p:txBody>
      </p:sp>
      <p:sp>
        <p:nvSpPr>
          <p:cNvPr id="7" name="TextBox 6">
            <a:extLst>
              <a:ext uri="{FF2B5EF4-FFF2-40B4-BE49-F238E27FC236}">
                <a16:creationId xmlns:a16="http://schemas.microsoft.com/office/drawing/2014/main" id="{6C9247BF-F9B1-73A2-87F4-1CD6C3A8F702}"/>
              </a:ext>
            </a:extLst>
          </p:cNvPr>
          <p:cNvSpPr txBox="1"/>
          <p:nvPr/>
        </p:nvSpPr>
        <p:spPr>
          <a:xfrm>
            <a:off x="303364" y="837580"/>
            <a:ext cx="8566316" cy="5509200"/>
          </a:xfrm>
          <a:prstGeom prst="rect">
            <a:avLst/>
          </a:prstGeom>
          <a:noFill/>
        </p:spPr>
        <p:txBody>
          <a:bodyPr wrap="square" lIns="91440" tIns="45720" rIns="91440" bIns="45720" anchor="t">
            <a:spAutoFit/>
          </a:bodyPr>
          <a:lstStyle/>
          <a:p>
            <a:r>
              <a:rPr lang="en-US" sz="1400" dirty="0">
                <a:latin typeface="GT Walsheim LC Light"/>
                <a:cs typeface="GT Walsheim LC Light" pitchFamily="2" charset="0"/>
              </a:rPr>
              <a:t>The servicing project introduces a range of financial, legal, operational, and industry-specific risks that must be proactively managed through a robust governance and oversight framework. The establishment of two MSCs is intended to help isolate and mitigate these risks, create an effective governance model, and meet compliance requirements.</a:t>
            </a:r>
          </a:p>
          <a:p>
            <a:r>
              <a:rPr lang="en-US" sz="1400" b="1" dirty="0">
                <a:latin typeface="GT Walsheim LC Light"/>
                <a:cs typeface="GT Walsheim LC Light" pitchFamily="2" charset="0"/>
              </a:rPr>
              <a:t>Risk Overview</a:t>
            </a:r>
          </a:p>
          <a:p>
            <a:pPr marL="285750" indent="-285750">
              <a:buFont typeface="Arial" panose="020B0604020202020204" pitchFamily="34" charset="0"/>
              <a:buChar char="•"/>
            </a:pPr>
            <a:r>
              <a:rPr lang="en-US" sz="1400" b="1" dirty="0">
                <a:latin typeface="GT Walsheim LC Light"/>
                <a:cs typeface="GT Walsheim LC Light" pitchFamily="2" charset="0"/>
              </a:rPr>
              <a:t>Financial Risk:</a:t>
            </a:r>
            <a:r>
              <a:rPr lang="en-US" sz="1400" dirty="0">
                <a:latin typeface="GT Walsheim LC Light"/>
                <a:cs typeface="GT Walsheim LC Light" pitchFamily="2" charset="0"/>
              </a:rPr>
              <a:t> The Infrastructure MSC will hold the debt associated with the servicing project, separating financial exposure from the City’s core operations. Long-term service agreements with AK and future users is intended to provide predictable revenue streams to cover capital and operating costs, supporting lender requirements and financial sustainability.</a:t>
            </a:r>
          </a:p>
          <a:p>
            <a:pPr marL="283210" indent="-283210">
              <a:buFont typeface="Arial" panose="020B0604020202020204" pitchFamily="34" charset="0"/>
              <a:buChar char="•"/>
            </a:pPr>
            <a:r>
              <a:rPr lang="en-US" sz="1400" b="1" dirty="0">
                <a:latin typeface="GT Walsheim LC Light" pitchFamily="2" charset="0"/>
                <a:cs typeface="GT Walsheim LC Light" pitchFamily="2" charset="0"/>
              </a:rPr>
              <a:t>Legal Risk:</a:t>
            </a:r>
            <a:r>
              <a:rPr lang="en-US" sz="1400" dirty="0">
                <a:latin typeface="GT Walsheim LC Light" pitchFamily="2" charset="0"/>
                <a:cs typeface="GT Walsheim LC Light" pitchFamily="2" charset="0"/>
              </a:rPr>
              <a:t> All agreements - including those with AK, the Niagara Region, and lenders - have been reviewed by legal counsel to ensure enforceability and protection of municipal interests. The MSC structure also limits liability by operating as a distinct legal entity.</a:t>
            </a:r>
          </a:p>
          <a:p>
            <a:pPr marL="283210" indent="-283210">
              <a:buFont typeface="Arial" panose="020B0604020202020204" pitchFamily="34" charset="0"/>
              <a:buChar char="•"/>
            </a:pPr>
            <a:r>
              <a:rPr lang="en-US" sz="1400" b="1" dirty="0">
                <a:latin typeface="GT Walsheim LC Light" pitchFamily="2" charset="0"/>
                <a:cs typeface="GT Walsheim LC Light" pitchFamily="2" charset="0"/>
              </a:rPr>
              <a:t>Operational Risk:</a:t>
            </a:r>
            <a:r>
              <a:rPr lang="en-US" sz="1400" dirty="0">
                <a:latin typeface="GT Walsheim LC Light" pitchFamily="2" charset="0"/>
                <a:cs typeface="GT Walsheim LC Light" pitchFamily="2" charset="0"/>
              </a:rPr>
              <a:t> Infrastructure delivery is tied to critical timelines, particularly AK’s Phase 1 launch in Q3 2027. To manage this, the City has retained qualified contractors and partnered with the Niagara Region for operations and maintenance. The MSC will oversee asset performance and ensure service continuity.</a:t>
            </a:r>
          </a:p>
          <a:p>
            <a:pPr marL="283210" indent="-283210">
              <a:buFont typeface="Arial" panose="020B0604020202020204" pitchFamily="34" charset="0"/>
              <a:buChar char="•"/>
            </a:pPr>
            <a:r>
              <a:rPr lang="en-US" sz="1400" b="1" dirty="0">
                <a:latin typeface="GT Walsheim LC Light"/>
                <a:cs typeface="GT Walsheim LC Light" pitchFamily="2" charset="0"/>
              </a:rPr>
              <a:t>Governance and Oversight Risk: </a:t>
            </a:r>
            <a:r>
              <a:rPr lang="en-US" sz="1400" dirty="0">
                <a:latin typeface="GT Walsheim LC Light"/>
                <a:cs typeface="GT Walsheim LC Light" pitchFamily="2" charset="0"/>
              </a:rPr>
              <a:t>A qualified Board of Directors will be appointed to the HOLDCO for oversight of the MSC’s financial and operational activities. The Board will be responsible for developing and maintaining a comprehensive risk mitigation strategy that outlines how risks will be managed without impacting the municipality.</a:t>
            </a:r>
          </a:p>
          <a:p>
            <a:pPr marL="283210" indent="-283210">
              <a:buFont typeface="Arial" panose="020B0604020202020204" pitchFamily="34" charset="0"/>
              <a:buChar char="•"/>
            </a:pPr>
            <a:r>
              <a:rPr lang="en-US" sz="1400" b="1" dirty="0">
                <a:latin typeface="GT Walsheim LC Light"/>
                <a:cs typeface="GT Walsheim LC Light" pitchFamily="2" charset="0"/>
              </a:rPr>
              <a:t>Regulatory Compliance Risk: </a:t>
            </a:r>
            <a:r>
              <a:rPr lang="en-US" sz="1400" dirty="0">
                <a:latin typeface="GT Walsheim LC Light"/>
                <a:cs typeface="GT Walsheim LC Light" pitchFamily="2" charset="0"/>
              </a:rPr>
              <a:t>The project must meet all requirements under the Drinking Water Protection Act and other applicable legislation. The MSC will be mandated to prioritize full compliance with provincial standards, supported by regional expertise and operational protocols.</a:t>
            </a:r>
          </a:p>
        </p:txBody>
      </p:sp>
      <p:pic>
        <p:nvPicPr>
          <p:cNvPr id="5" name="Picture 4">
            <a:extLst>
              <a:ext uri="{FF2B5EF4-FFF2-40B4-BE49-F238E27FC236}">
                <a16:creationId xmlns:a16="http://schemas.microsoft.com/office/drawing/2014/main" id="{AD4EAB0C-4E22-3BA7-18A5-AD0395F12E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6" name="Footer Placeholder 5">
            <a:extLst>
              <a:ext uri="{FF2B5EF4-FFF2-40B4-BE49-F238E27FC236}">
                <a16:creationId xmlns:a16="http://schemas.microsoft.com/office/drawing/2014/main" id="{8CB892DE-3BC2-6D00-15A1-6865FD4BA4C0}"/>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42828361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51C86-7428-2775-A41D-4BF02C3D01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09AD95-6C6E-1602-E971-16936A471EE3}"/>
              </a:ext>
            </a:extLst>
          </p:cNvPr>
          <p:cNvSpPr>
            <a:spLocks noGrp="1"/>
          </p:cNvSpPr>
          <p:nvPr>
            <p:ph type="title"/>
          </p:nvPr>
        </p:nvSpPr>
        <p:spPr/>
        <p:txBody>
          <a:bodyPr/>
          <a:lstStyle/>
          <a:p>
            <a:r>
              <a:rPr lang="en-US" dirty="0"/>
              <a:t>Risk Management Framework (continued)</a:t>
            </a:r>
          </a:p>
        </p:txBody>
      </p:sp>
      <p:sp>
        <p:nvSpPr>
          <p:cNvPr id="4" name="Slide Number Placeholder 3">
            <a:extLst>
              <a:ext uri="{FF2B5EF4-FFF2-40B4-BE49-F238E27FC236}">
                <a16:creationId xmlns:a16="http://schemas.microsoft.com/office/drawing/2014/main" id="{77DBDF6C-E63D-1243-94C7-1DC6B7540D01}"/>
              </a:ext>
            </a:extLst>
          </p:cNvPr>
          <p:cNvSpPr>
            <a:spLocks noGrp="1"/>
          </p:cNvSpPr>
          <p:nvPr>
            <p:ph type="sldNum" sz="quarter" idx="4"/>
          </p:nvPr>
        </p:nvSpPr>
        <p:spPr/>
        <p:txBody>
          <a:bodyPr/>
          <a:lstStyle/>
          <a:p>
            <a:fld id="{1AB31D9B-80B6-41F8-B283-556E26E6158E}" type="slidenum">
              <a:rPr lang="en-GB" smtClean="0"/>
              <a:pPr/>
              <a:t>16</a:t>
            </a:fld>
            <a:endParaRPr lang="en-GB"/>
          </a:p>
        </p:txBody>
      </p:sp>
      <p:sp>
        <p:nvSpPr>
          <p:cNvPr id="7" name="TextBox 6">
            <a:extLst>
              <a:ext uri="{FF2B5EF4-FFF2-40B4-BE49-F238E27FC236}">
                <a16:creationId xmlns:a16="http://schemas.microsoft.com/office/drawing/2014/main" id="{87A3FB7B-FE38-2E87-EC6D-262498200F91}"/>
              </a:ext>
            </a:extLst>
          </p:cNvPr>
          <p:cNvSpPr txBox="1"/>
          <p:nvPr/>
        </p:nvSpPr>
        <p:spPr>
          <a:xfrm>
            <a:off x="303364" y="1605676"/>
            <a:ext cx="8459631" cy="3631763"/>
          </a:xfrm>
          <a:prstGeom prst="rect">
            <a:avLst/>
          </a:prstGeom>
          <a:noFill/>
        </p:spPr>
        <p:txBody>
          <a:bodyPr wrap="square" lIns="91440" tIns="45720" rIns="91440" bIns="45720" anchor="t">
            <a:spAutoFit/>
          </a:bodyPr>
          <a:lstStyle/>
          <a:p>
            <a:r>
              <a:rPr lang="en-US" sz="1400" b="1" dirty="0">
                <a:latin typeface="GT Walsheim LC Light"/>
                <a:cs typeface="GT Walsheim LC Light" pitchFamily="2" charset="0"/>
              </a:rPr>
              <a:t>Risk overview (continued)</a:t>
            </a:r>
          </a:p>
          <a:p>
            <a:pPr marL="285750" indent="-285750">
              <a:buFont typeface="Arial" panose="020B0604020202020204" pitchFamily="34" charset="0"/>
              <a:buChar char="•"/>
            </a:pPr>
            <a:r>
              <a:rPr lang="en-US" sz="1400" b="1" dirty="0">
                <a:latin typeface="GT Walsheim LC Light"/>
                <a:cs typeface="GT Walsheim LC Light" pitchFamily="2" charset="0"/>
              </a:rPr>
              <a:t>Municipal Oversight Risk: </a:t>
            </a:r>
            <a:r>
              <a:rPr lang="en-US" sz="1400" dirty="0">
                <a:latin typeface="GT Walsheim LC Light"/>
                <a:cs typeface="GT Walsheim LC Light" pitchFamily="2" charset="0"/>
              </a:rPr>
              <a:t>Council will retain visibility through regular reporting, including AGMs, audited financial statements, and milestone updates. This is intended to monitor and mitigate risk and protect municipal interests throughout the project lifecycle.</a:t>
            </a:r>
          </a:p>
          <a:p>
            <a:pPr marL="285750" indent="-285750">
              <a:buFont typeface="Arial" panose="020B0604020202020204" pitchFamily="34" charset="0"/>
              <a:buChar char="•"/>
            </a:pPr>
            <a:r>
              <a:rPr lang="en-US" sz="1400" b="1" dirty="0">
                <a:latin typeface="GT Walsheim LC Light"/>
                <a:cs typeface="GT Walsheim LC Light" pitchFamily="2" charset="0"/>
              </a:rPr>
              <a:t>EV Industry Risk: </a:t>
            </a:r>
            <a:r>
              <a:rPr lang="en-US" sz="1400" dirty="0">
                <a:latin typeface="GT Walsheim LC Light"/>
                <a:cs typeface="GT Walsheim LC Light" pitchFamily="2" charset="0"/>
              </a:rPr>
              <a:t>The servicing project is closely tied to the success of the AK Battery Separator Plant, which operates within the rapidly evolving electric vehicle (EV) industry. Market volatility, technological shifts, and global supply chain disruptions could impact AK’s operations and, by extension, the servicing strategy.</a:t>
            </a:r>
          </a:p>
          <a:p>
            <a:pPr marL="285750" indent="-285750">
              <a:buFont typeface="Arial" panose="020B0604020202020204" pitchFamily="34" charset="0"/>
              <a:buChar char="•"/>
            </a:pPr>
            <a:r>
              <a:rPr lang="en-US" sz="1400" b="1" dirty="0">
                <a:latin typeface="GT Walsheim LC Light"/>
                <a:cs typeface="GT Walsheim LC Light" pitchFamily="2" charset="0"/>
              </a:rPr>
              <a:t>Counterparty Reliance Risk: </a:t>
            </a:r>
            <a:r>
              <a:rPr lang="en-US" sz="1400" dirty="0">
                <a:latin typeface="GT Walsheim LC Light"/>
                <a:cs typeface="GT Walsheim LC Light" pitchFamily="2" charset="0"/>
              </a:rPr>
              <a:t>The financial model relies heavily on AK as the anchor user. Any changes in AK’s business plans, financial health, or contractual commitments could materially affect revenue projections and infrastructure utilization.</a:t>
            </a:r>
          </a:p>
          <a:p>
            <a:pPr marL="285750" indent="-285750">
              <a:buFont typeface="Arial" panose="020B0604020202020204" pitchFamily="34" charset="0"/>
              <a:buChar char="•"/>
            </a:pPr>
            <a:r>
              <a:rPr lang="en-US" sz="1400" b="1" dirty="0">
                <a:latin typeface="GT Walsheim LC Light"/>
                <a:cs typeface="GT Walsheim LC Light" pitchFamily="2" charset="0"/>
              </a:rPr>
              <a:t>Cost Overrun Risk: </a:t>
            </a:r>
            <a:r>
              <a:rPr lang="en-US" sz="1400" dirty="0">
                <a:latin typeface="GT Walsheim LC Light"/>
                <a:cs typeface="GT Walsheim LC Light" pitchFamily="2" charset="0"/>
              </a:rPr>
              <a:t>While project budgets have been established, there remains a risk of cost overruns due to unforeseen construction, regulatory, or environmental factors. Recovery of these overruns is expected to occur through future development charges, which may take time to materialize and could impact short- to medium-term financial performance.</a:t>
            </a:r>
          </a:p>
        </p:txBody>
      </p:sp>
      <p:pic>
        <p:nvPicPr>
          <p:cNvPr id="5" name="Picture 4">
            <a:extLst>
              <a:ext uri="{FF2B5EF4-FFF2-40B4-BE49-F238E27FC236}">
                <a16:creationId xmlns:a16="http://schemas.microsoft.com/office/drawing/2014/main" id="{FBC57856-8078-58EC-7B8D-678B6CABF7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6" name="Footer Placeholder 5">
            <a:extLst>
              <a:ext uri="{FF2B5EF4-FFF2-40B4-BE49-F238E27FC236}">
                <a16:creationId xmlns:a16="http://schemas.microsoft.com/office/drawing/2014/main" id="{C5A59DA8-DD04-830D-358E-572FDB3D5D64}"/>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862209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9EE04-C284-B07A-4532-B3F75A078D83}"/>
              </a:ext>
            </a:extLst>
          </p:cNvPr>
          <p:cNvSpPr>
            <a:spLocks noGrp="1"/>
          </p:cNvSpPr>
          <p:nvPr>
            <p:ph type="title"/>
          </p:nvPr>
        </p:nvSpPr>
        <p:spPr/>
        <p:txBody>
          <a:bodyPr/>
          <a:lstStyle/>
          <a:p>
            <a:r>
              <a:rPr lang="en-US"/>
              <a:t>Environmental &amp; Regulatory Compliance</a:t>
            </a:r>
          </a:p>
        </p:txBody>
      </p:sp>
      <p:sp>
        <p:nvSpPr>
          <p:cNvPr id="4" name="Slide Number Placeholder 3">
            <a:extLst>
              <a:ext uri="{FF2B5EF4-FFF2-40B4-BE49-F238E27FC236}">
                <a16:creationId xmlns:a16="http://schemas.microsoft.com/office/drawing/2014/main" id="{AD7955ED-D4EB-9863-18B6-0C98C26B4956}"/>
              </a:ext>
            </a:extLst>
          </p:cNvPr>
          <p:cNvSpPr>
            <a:spLocks noGrp="1"/>
          </p:cNvSpPr>
          <p:nvPr>
            <p:ph type="sldNum" sz="quarter" idx="4"/>
          </p:nvPr>
        </p:nvSpPr>
        <p:spPr/>
        <p:txBody>
          <a:bodyPr/>
          <a:lstStyle/>
          <a:p>
            <a:fld id="{1AB31D9B-80B6-41F8-B283-556E26E6158E}" type="slidenum">
              <a:rPr lang="en-GB" smtClean="0"/>
              <a:pPr/>
              <a:t>17</a:t>
            </a:fld>
            <a:endParaRPr lang="en-GB"/>
          </a:p>
        </p:txBody>
      </p:sp>
      <p:sp>
        <p:nvSpPr>
          <p:cNvPr id="8" name="TextBox 7">
            <a:extLst>
              <a:ext uri="{FF2B5EF4-FFF2-40B4-BE49-F238E27FC236}">
                <a16:creationId xmlns:a16="http://schemas.microsoft.com/office/drawing/2014/main" id="{E5507BEA-5DB7-A816-C5A9-065D88A79BC9}"/>
              </a:ext>
            </a:extLst>
          </p:cNvPr>
          <p:cNvSpPr txBox="1"/>
          <p:nvPr/>
        </p:nvSpPr>
        <p:spPr>
          <a:xfrm>
            <a:off x="422150" y="1560752"/>
            <a:ext cx="7893713" cy="4662815"/>
          </a:xfrm>
          <a:prstGeom prst="rect">
            <a:avLst/>
          </a:prstGeom>
          <a:noFill/>
        </p:spPr>
        <p:txBody>
          <a:bodyPr wrap="square">
            <a:spAutoFit/>
          </a:bodyPr>
          <a:lstStyle/>
          <a:p>
            <a:r>
              <a:rPr lang="en-US" sz="1400" dirty="0">
                <a:latin typeface="GT Walsheim LC Light" pitchFamily="2" charset="0"/>
                <a:cs typeface="GT Walsheim LC Light" pitchFamily="2" charset="0"/>
              </a:rPr>
              <a:t>The water and wastewater servicing project for the ESEL is being delivered in alignment with environmental and regulatory standards through coordinated planning and intergovernmental agreements.</a:t>
            </a:r>
          </a:p>
          <a:p>
            <a:r>
              <a:rPr lang="en-US" sz="1400" b="1" dirty="0">
                <a:latin typeface="GT Walsheim LC Light" pitchFamily="2" charset="0"/>
                <a:cs typeface="GT Walsheim LC Light" pitchFamily="2" charset="0"/>
              </a:rPr>
              <a:t>Environmental Planning</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Infrastructure design includes geotechnical investigations and engineering studies to support the </a:t>
            </a:r>
            <a:r>
              <a:rPr lang="en-US" sz="1400" dirty="0" err="1">
                <a:latin typeface="GT Walsheim LC Light" pitchFamily="2" charset="0"/>
                <a:cs typeface="GT Walsheim LC Light" pitchFamily="2" charset="0"/>
              </a:rPr>
              <a:t>Welland</a:t>
            </a:r>
            <a:r>
              <a:rPr lang="en-US" sz="1400" dirty="0">
                <a:latin typeface="GT Walsheim LC Light" pitchFamily="2" charset="0"/>
                <a:cs typeface="GT Walsheim LC Light" pitchFamily="2" charset="0"/>
              </a:rPr>
              <a:t> Canal crossing and surrounding area.</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project supports the City's strategic pillar of Environment and Climate Change, as outlined in the Strategic Plan.</a:t>
            </a:r>
          </a:p>
          <a:p>
            <a:r>
              <a:rPr lang="en-US" sz="1400" b="1" dirty="0">
                <a:latin typeface="GT Walsheim LC Light" pitchFamily="2" charset="0"/>
                <a:cs typeface="GT Walsheim LC Light" pitchFamily="2" charset="0"/>
              </a:rPr>
              <a:t>Regulatory Compliance</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All infrastructure is being constructed to Niagara Region standards, ensuring compliance with regional and provincial requirement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project is subject to the Municipal Act, which governs the establishment of a GBE and requires public consultation.</a:t>
            </a:r>
          </a:p>
          <a:p>
            <a:r>
              <a:rPr lang="en-US" sz="1400" b="1" dirty="0">
                <a:latin typeface="GT Walsheim LC Light" pitchFamily="2" charset="0"/>
                <a:cs typeface="GT Walsheim LC Light" pitchFamily="2" charset="0"/>
              </a:rPr>
              <a:t>Governance Integration</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infrastructure will be transferred to the Region upon completion, ensuring long-term operational oversight and regulatory adherence.</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GBE structure enables the City to manage infrastructure delivery while maintaining compliance through shared service agreements and formal governance mechanisms.</a:t>
            </a:r>
          </a:p>
        </p:txBody>
      </p:sp>
      <p:sp>
        <p:nvSpPr>
          <p:cNvPr id="5" name="Footer Placeholder 5">
            <a:extLst>
              <a:ext uri="{FF2B5EF4-FFF2-40B4-BE49-F238E27FC236}">
                <a16:creationId xmlns:a16="http://schemas.microsoft.com/office/drawing/2014/main" id="{71DCA9D7-CF3B-2EFE-1D1D-CC9B83A55012}"/>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pic>
        <p:nvPicPr>
          <p:cNvPr id="6" name="Picture 5">
            <a:extLst>
              <a:ext uri="{FF2B5EF4-FFF2-40B4-BE49-F238E27FC236}">
                <a16:creationId xmlns:a16="http://schemas.microsoft.com/office/drawing/2014/main" id="{52A91EB6-1078-7A27-E8DA-3EBE1DC12A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Tree>
    <p:extLst>
      <p:ext uri="{BB962C8B-B14F-4D97-AF65-F5344CB8AC3E}">
        <p14:creationId xmlns:p14="http://schemas.microsoft.com/office/powerpoint/2010/main" val="1014890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A3E21-7007-F4CD-764B-2794511F41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3255A4-FA27-1D85-ED4A-F73B4D583538}"/>
              </a:ext>
            </a:extLst>
          </p:cNvPr>
          <p:cNvSpPr>
            <a:spLocks noGrp="1"/>
          </p:cNvSpPr>
          <p:nvPr>
            <p:ph type="title"/>
          </p:nvPr>
        </p:nvSpPr>
        <p:spPr>
          <a:xfrm>
            <a:off x="1094185" y="2924178"/>
            <a:ext cx="4100116" cy="348622"/>
          </a:xfrm>
        </p:spPr>
        <p:txBody>
          <a:bodyPr/>
          <a:lstStyle/>
          <a:p>
            <a:r>
              <a:rPr lang="en-US"/>
              <a:t>Agreements &amp; Financing</a:t>
            </a:r>
          </a:p>
        </p:txBody>
      </p:sp>
      <p:sp>
        <p:nvSpPr>
          <p:cNvPr id="5" name="Slide Number Placeholder 4">
            <a:extLst>
              <a:ext uri="{FF2B5EF4-FFF2-40B4-BE49-F238E27FC236}">
                <a16:creationId xmlns:a16="http://schemas.microsoft.com/office/drawing/2014/main" id="{C20A2769-B748-765B-A927-224EB3810F4E}"/>
              </a:ext>
            </a:extLst>
          </p:cNvPr>
          <p:cNvSpPr>
            <a:spLocks noGrp="1"/>
          </p:cNvSpPr>
          <p:nvPr>
            <p:ph type="sldNum" sz="quarter" idx="4"/>
          </p:nvPr>
        </p:nvSpPr>
        <p:spPr/>
        <p:txBody>
          <a:bodyPr/>
          <a:lstStyle/>
          <a:p>
            <a:fld id="{1AB31D9B-80B6-41F8-B283-556E26E6158E}" type="slidenum">
              <a:rPr lang="en-GB" smtClean="0"/>
              <a:pPr/>
              <a:t>18</a:t>
            </a:fld>
            <a:endParaRPr lang="en-GB"/>
          </a:p>
        </p:txBody>
      </p:sp>
      <p:sp>
        <p:nvSpPr>
          <p:cNvPr id="3" name="Footer Placeholder 5">
            <a:extLst>
              <a:ext uri="{FF2B5EF4-FFF2-40B4-BE49-F238E27FC236}">
                <a16:creationId xmlns:a16="http://schemas.microsoft.com/office/drawing/2014/main" id="{4389AE76-609E-0A58-76F4-6C6330C5C8FC}"/>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5591011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B8C2C-1F6D-ED40-4DFD-AC18E7D7100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56910F77-166B-E24E-1F42-8D6E433EB9FA}"/>
              </a:ext>
            </a:extLst>
          </p:cNvPr>
          <p:cNvSpPr>
            <a:spLocks noGrp="1"/>
          </p:cNvSpPr>
          <p:nvPr>
            <p:ph type="title"/>
          </p:nvPr>
        </p:nvSpPr>
        <p:spPr>
          <a:xfrm>
            <a:off x="381005" y="508005"/>
            <a:ext cx="7555297" cy="346249"/>
          </a:xfrm>
        </p:spPr>
        <p:txBody>
          <a:bodyPr/>
          <a:lstStyle/>
          <a:p>
            <a:r>
              <a:rPr lang="en-US" b="1"/>
              <a:t>Water and Wastewater Agreement with AK</a:t>
            </a:r>
            <a:endParaRPr lang="en-US"/>
          </a:p>
        </p:txBody>
      </p:sp>
      <p:sp>
        <p:nvSpPr>
          <p:cNvPr id="9" name="Content Placeholder 8">
            <a:extLst>
              <a:ext uri="{FF2B5EF4-FFF2-40B4-BE49-F238E27FC236}">
                <a16:creationId xmlns:a16="http://schemas.microsoft.com/office/drawing/2014/main" id="{502B55BD-3C5A-FACE-9D70-0D8FBB215949}"/>
              </a:ext>
            </a:extLst>
          </p:cNvPr>
          <p:cNvSpPr>
            <a:spLocks noGrp="1"/>
          </p:cNvSpPr>
          <p:nvPr>
            <p:ph sz="quarter" idx="15"/>
          </p:nvPr>
        </p:nvSpPr>
        <p:spPr>
          <a:xfrm>
            <a:off x="381000" y="1557366"/>
            <a:ext cx="8382000" cy="4260849"/>
          </a:xfrm>
        </p:spPr>
        <p:txBody>
          <a:bodyPr/>
          <a:lstStyle/>
          <a:p>
            <a:pPr marL="0" indent="0" defTabSz="946862">
              <a:spcAft>
                <a:spcPts val="600"/>
              </a:spcAft>
              <a:buNone/>
            </a:pPr>
            <a:r>
              <a:rPr lang="en-US" sz="1400" b="1" dirty="0"/>
              <a:t>Strategic Infrastructure Partnership</a:t>
            </a:r>
          </a:p>
          <a:p>
            <a:pPr marL="283210" indent="-283210" defTabSz="946862">
              <a:spcAft>
                <a:spcPts val="600"/>
              </a:spcAft>
            </a:pPr>
            <a:r>
              <a:rPr lang="en-US" sz="1400" dirty="0"/>
              <a:t>The City of Port Colborne has executed a comprehensive agreement with AK to fund and deliver water and wastewater infrastructure for the ESEL. This supports the development of a $1.6 billion battery separator plant and future industrial expansion.</a:t>
            </a:r>
          </a:p>
          <a:p>
            <a:pPr marL="0" indent="0" defTabSz="946862">
              <a:spcAft>
                <a:spcPts val="600"/>
              </a:spcAft>
              <a:buFont typeface="Arial" panose="020B0604020202020204" pitchFamily="34" charset="0"/>
              <a:buNone/>
            </a:pPr>
            <a:r>
              <a:rPr lang="en-US" sz="1400" b="1" dirty="0"/>
              <a:t>Financial Terms &amp; Cost Recovery</a:t>
            </a:r>
          </a:p>
          <a:p>
            <a:pPr marL="283210" indent="-283210" defTabSz="946862">
              <a:spcAft>
                <a:spcPts val="600"/>
              </a:spcAft>
            </a:pPr>
            <a:r>
              <a:rPr lang="en-US" sz="1400" dirty="0"/>
              <a:t>The agreement establishes a 20-year partnership with renewal options, ensuring long-term collaboration and service continuity. A project cost ceiling of $32.4 million is set, with any overages covered through development charges or future users. </a:t>
            </a:r>
          </a:p>
          <a:p>
            <a:pPr marL="283210" indent="-283210" defTabSz="946862">
              <a:spcAft>
                <a:spcPts val="600"/>
              </a:spcAft>
            </a:pPr>
            <a:r>
              <a:rPr lang="en-US" sz="1400" dirty="0">
                <a:latin typeface="GT Walsheim LC Light"/>
              </a:rPr>
              <a:t>All infrastructure and operating costs are intended to be recovered from AK and future ESEL users, ensuring no cost to City taxpayers. The rate structure includes built-in contingencies for 15% water loss and 15% inflow/infiltration, supporting full cost recovery and system resilience.</a:t>
            </a:r>
          </a:p>
          <a:p>
            <a:pPr marL="0" indent="0" defTabSz="946862">
              <a:spcAft>
                <a:spcPts val="600"/>
              </a:spcAft>
              <a:buFont typeface="Arial" panose="020B0604020202020204" pitchFamily="34" charset="0"/>
              <a:buNone/>
            </a:pPr>
            <a:r>
              <a:rPr lang="en-US" sz="1400" b="1" dirty="0"/>
              <a:t>Capacity Allocation &amp; Expansion</a:t>
            </a:r>
          </a:p>
          <a:p>
            <a:pPr marL="283210" indent="-283210" defTabSz="946862">
              <a:spcAft>
                <a:spcPts val="600"/>
              </a:spcAft>
            </a:pPr>
            <a:r>
              <a:rPr lang="en-US" sz="1400" dirty="0">
                <a:latin typeface="GT Walsheim LC Light"/>
              </a:rPr>
              <a:t>AK is guaranteed 50% of pipe capacity, subject to pumping station limits. Future pump station expansions will be co-funded: 50% by AK and 50% by future users.</a:t>
            </a:r>
          </a:p>
          <a:p>
            <a:pPr marL="0" indent="0">
              <a:buNone/>
            </a:pPr>
            <a:r>
              <a:rPr lang="en-US" sz="1400" b="1" dirty="0"/>
              <a:t>Legal Advisory Support</a:t>
            </a:r>
          </a:p>
          <a:p>
            <a:r>
              <a:rPr lang="en-US" sz="1400" dirty="0"/>
              <a:t>BLG LLP has acted as legal counsel to the City for the negotiation and finalization of the infrastructure agreement with AK, ensuring alignment with municipal interests and legal requirements.</a:t>
            </a:r>
          </a:p>
          <a:p>
            <a:pPr marL="0" indent="0">
              <a:buNone/>
            </a:pPr>
            <a:endParaRPr lang="en-US" sz="1400" dirty="0"/>
          </a:p>
        </p:txBody>
      </p:sp>
      <p:sp>
        <p:nvSpPr>
          <p:cNvPr id="7" name="Slide Number Placeholder 6">
            <a:extLst>
              <a:ext uri="{FF2B5EF4-FFF2-40B4-BE49-F238E27FC236}">
                <a16:creationId xmlns:a16="http://schemas.microsoft.com/office/drawing/2014/main" id="{6354524B-126C-524F-C51A-28DE98AE53B0}"/>
              </a:ext>
            </a:extLst>
          </p:cNvPr>
          <p:cNvSpPr>
            <a:spLocks noGrp="1"/>
          </p:cNvSpPr>
          <p:nvPr>
            <p:ph type="sldNum" sz="quarter" idx="4"/>
          </p:nvPr>
        </p:nvSpPr>
        <p:spPr/>
        <p:txBody>
          <a:bodyPr/>
          <a:lstStyle/>
          <a:p>
            <a:fld id="{1AB31D9B-80B6-41F8-B283-556E26E6158E}" type="slidenum">
              <a:rPr lang="en-GB" smtClean="0"/>
              <a:pPr/>
              <a:t>19</a:t>
            </a:fld>
            <a:endParaRPr lang="en-GB"/>
          </a:p>
        </p:txBody>
      </p:sp>
      <p:pic>
        <p:nvPicPr>
          <p:cNvPr id="2" name="Picture 1">
            <a:extLst>
              <a:ext uri="{FF2B5EF4-FFF2-40B4-BE49-F238E27FC236}">
                <a16:creationId xmlns:a16="http://schemas.microsoft.com/office/drawing/2014/main" id="{A5B97A7E-C0AB-681D-6D3C-06FDDDA7D2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4" name="Footer Placeholder 5">
            <a:extLst>
              <a:ext uri="{FF2B5EF4-FFF2-40B4-BE49-F238E27FC236}">
                <a16:creationId xmlns:a16="http://schemas.microsoft.com/office/drawing/2014/main" id="{8E29DEDB-65F0-DE52-D5B5-EDBB71F97DA4}"/>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826880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8426A-C02D-8D1D-C228-D33B633FDC6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7AD5E52-2FA6-0962-8314-C2F4C8F076DC}"/>
              </a:ext>
            </a:extLst>
          </p:cNvPr>
          <p:cNvSpPr>
            <a:spLocks noGrp="1"/>
          </p:cNvSpPr>
          <p:nvPr>
            <p:ph type="body" sz="quarter" idx="12"/>
          </p:nvPr>
        </p:nvSpPr>
        <p:spPr>
          <a:xfrm>
            <a:off x="381001" y="1160462"/>
            <a:ext cx="3960000" cy="5041755"/>
          </a:xfrm>
        </p:spPr>
        <p:txBody>
          <a:bodyPr/>
          <a:lstStyle/>
          <a:p>
            <a:pPr marL="0" indent="0" algn="l">
              <a:spcAft>
                <a:spcPts val="0"/>
              </a:spcAft>
              <a:buNone/>
            </a:pPr>
            <a:r>
              <a:rPr lang="en-US" sz="900" i="0" u="none" strike="noStrike" baseline="0" dirty="0">
                <a:solidFill>
                  <a:schemeClr val="accent1"/>
                </a:solidFill>
                <a:latin typeface="GT Walsheim LC Bold" pitchFamily="2" charset="0"/>
                <a:cs typeface="GT Walsheim LC Bold" pitchFamily="2" charset="0"/>
              </a:rPr>
              <a:t>Purpose</a:t>
            </a:r>
          </a:p>
          <a:p>
            <a:pPr marL="0" indent="0" algn="l">
              <a:spcAft>
                <a:spcPts val="600"/>
              </a:spcAft>
              <a:buNone/>
            </a:pPr>
            <a:r>
              <a:rPr lang="en-US" sz="900" b="0" i="0" u="none" strike="noStrike" baseline="0" dirty="0"/>
              <a:t>The sole purpose (the “Purpose”) of this </a:t>
            </a:r>
            <a:r>
              <a:rPr lang="en-US" sz="900" dirty="0"/>
              <a:t>Business Plan report </a:t>
            </a:r>
            <a:r>
              <a:rPr lang="en-US" sz="900" b="0" i="0" u="none" strike="noStrike" baseline="0" dirty="0"/>
              <a:t>(“Report”) is to provide preliminary information on </a:t>
            </a:r>
            <a:r>
              <a:rPr lang="en-US" sz="900" dirty="0"/>
              <a:t>The Town of Port Colborne’s expansion of Water and Wastewater capacity </a:t>
            </a:r>
            <a:r>
              <a:rPr lang="en-US" sz="900" b="0" i="0" u="none" strike="noStrike" baseline="0" dirty="0"/>
              <a:t>(the “Investment”) to Port Colborne’s city council. </a:t>
            </a:r>
          </a:p>
          <a:p>
            <a:pPr marL="0" indent="0" algn="l">
              <a:spcAft>
                <a:spcPts val="1200"/>
              </a:spcAft>
              <a:buNone/>
            </a:pPr>
            <a:r>
              <a:rPr lang="en-US" sz="900" b="0" i="0" u="none" strike="noStrike" baseline="0" dirty="0"/>
              <a:t>This Report and the contents herein do not, and are not intended to, constitute an offer for sale, prospectus, invitation to subscribe for or purchase or otherwise acquire, shares or other securities in the Investment. For the avoidance of doubt, there is no intention to create a legal relationship and such relationship will not come into existence unless and until a formal contract has been entered into in relation to the acquisition of the Investment or its assets.</a:t>
            </a:r>
          </a:p>
          <a:p>
            <a:pPr marL="0" indent="0" algn="l">
              <a:spcAft>
                <a:spcPts val="0"/>
              </a:spcAft>
              <a:buNone/>
            </a:pPr>
            <a:r>
              <a:rPr lang="en-US" sz="900" i="0" u="none" strike="noStrike" baseline="0" dirty="0">
                <a:solidFill>
                  <a:schemeClr val="accent1"/>
                </a:solidFill>
                <a:latin typeface="GT Walsheim LC Bold" pitchFamily="2" charset="0"/>
                <a:cs typeface="GT Walsheim LC Bold" pitchFamily="2" charset="0"/>
              </a:rPr>
              <a:t>Use of materials</a:t>
            </a:r>
          </a:p>
          <a:p>
            <a:pPr marL="0" indent="0" algn="l">
              <a:spcAft>
                <a:spcPts val="600"/>
              </a:spcAft>
              <a:buNone/>
            </a:pPr>
            <a:r>
              <a:rPr lang="en-US" sz="900" b="0" i="0" u="none" strike="noStrike" baseline="0" dirty="0"/>
              <a:t>This Report is provided to the person in possession of it (the “Recipient”) on the understanding that:</a:t>
            </a:r>
            <a:endParaRPr lang="en-US" sz="900" i="0" u="none" strike="noStrike" baseline="0" dirty="0">
              <a:latin typeface="Arial Black" panose="020B0A04020102020204" pitchFamily="34" charset="0"/>
            </a:endParaRPr>
          </a:p>
          <a:p>
            <a:pPr marL="171450" indent="-171450" algn="l">
              <a:spcAft>
                <a:spcPts val="600"/>
              </a:spcAft>
              <a:buFont typeface="Arial" panose="020B0604020202020204" pitchFamily="34" charset="0"/>
              <a:buChar char="•"/>
            </a:pPr>
            <a:r>
              <a:rPr lang="en-US" sz="900" b="0" i="0" u="none" strike="noStrike" baseline="0" dirty="0"/>
              <a:t>the Recipient will only use this Report and the information contained herein (except to the extent that the same is already in the public domain) for the Purpose;</a:t>
            </a:r>
          </a:p>
          <a:p>
            <a:pPr marL="171450" indent="-171450" algn="l">
              <a:spcAft>
                <a:spcPts val="600"/>
              </a:spcAft>
              <a:buFont typeface="Arial" panose="020B0604020202020204" pitchFamily="34" charset="0"/>
              <a:buChar char="•"/>
            </a:pPr>
            <a:r>
              <a:rPr lang="en-US" sz="900" b="0" i="0" u="none" strike="noStrike" baseline="0" dirty="0"/>
              <a:t>this Report and all other information supplied will not be copied, reproduced or distributed to others at any time without the prior written consent of the Investment (other than to directors, officers, employees and professional advisers of the Recipient who need to know the information contained in this Report for the Purpose);</a:t>
            </a:r>
          </a:p>
          <a:p>
            <a:pPr marL="171450" indent="-171450" algn="l">
              <a:spcAft>
                <a:spcPts val="600"/>
              </a:spcAft>
              <a:buFont typeface="Arial" panose="020B0604020202020204" pitchFamily="34" charset="0"/>
              <a:buChar char="•"/>
            </a:pPr>
            <a:r>
              <a:rPr lang="en-US" sz="900" b="0" i="0" u="none" strike="noStrike" baseline="0" dirty="0"/>
              <a:t>upon request, the Recipient will promptly return to Doane GTCFI all material received without retaining any copies thereof, and will destroy any information derived from the material; and</a:t>
            </a:r>
          </a:p>
          <a:p>
            <a:pPr marL="171450" indent="-171450"/>
            <a:r>
              <a:rPr lang="en-US" sz="900" b="0" i="0" u="none" strike="noStrike" baseline="0" dirty="0"/>
              <a:t>the Recipient will advise other persons with whom the Report is properly shared of the provisions of this undertaking.</a:t>
            </a:r>
          </a:p>
          <a:p>
            <a:pPr marL="0" indent="0" algn="l">
              <a:buNone/>
            </a:pPr>
            <a:endParaRPr lang="en-US" sz="900" b="0" i="0" u="none" strike="noStrike" baseline="0" dirty="0">
              <a:solidFill>
                <a:srgbClr val="414142"/>
              </a:solidFill>
            </a:endParaRPr>
          </a:p>
        </p:txBody>
      </p:sp>
      <p:sp>
        <p:nvSpPr>
          <p:cNvPr id="3" name="Title 2">
            <a:extLst>
              <a:ext uri="{FF2B5EF4-FFF2-40B4-BE49-F238E27FC236}">
                <a16:creationId xmlns:a16="http://schemas.microsoft.com/office/drawing/2014/main" id="{57CBB6F4-CEDA-0143-0BA8-058089031042}"/>
              </a:ext>
            </a:extLst>
          </p:cNvPr>
          <p:cNvSpPr>
            <a:spLocks noGrp="1"/>
          </p:cNvSpPr>
          <p:nvPr>
            <p:ph type="title"/>
          </p:nvPr>
        </p:nvSpPr>
        <p:spPr/>
        <p:txBody>
          <a:bodyPr/>
          <a:lstStyle/>
          <a:p>
            <a:r>
              <a:rPr lang="en-US" dirty="0"/>
              <a:t>Disclaimer</a:t>
            </a:r>
            <a:endParaRPr lang="en-CA" dirty="0"/>
          </a:p>
        </p:txBody>
      </p:sp>
      <p:sp>
        <p:nvSpPr>
          <p:cNvPr id="4" name="Text Placeholder 3">
            <a:extLst>
              <a:ext uri="{FF2B5EF4-FFF2-40B4-BE49-F238E27FC236}">
                <a16:creationId xmlns:a16="http://schemas.microsoft.com/office/drawing/2014/main" id="{EB5DCF44-DECD-DD72-8048-3B4A85395311}"/>
              </a:ext>
            </a:extLst>
          </p:cNvPr>
          <p:cNvSpPr>
            <a:spLocks noGrp="1"/>
          </p:cNvSpPr>
          <p:nvPr>
            <p:ph type="body" sz="quarter" idx="15"/>
          </p:nvPr>
        </p:nvSpPr>
        <p:spPr>
          <a:xfrm>
            <a:off x="4760778" y="1160463"/>
            <a:ext cx="3960000" cy="4824411"/>
          </a:xfrm>
        </p:spPr>
        <p:txBody>
          <a:bodyPr/>
          <a:lstStyle/>
          <a:p>
            <a:pPr marL="0" indent="0">
              <a:spcAft>
                <a:spcPts val="0"/>
              </a:spcAft>
              <a:buNone/>
            </a:pPr>
            <a:r>
              <a:rPr lang="en-US" sz="900" i="0" u="none" strike="noStrike" baseline="0" dirty="0">
                <a:solidFill>
                  <a:schemeClr val="accent1"/>
                </a:solidFill>
                <a:latin typeface="GT Walsheim LC Bold" pitchFamily="2" charset="0"/>
                <a:cs typeface="GT Walsheim LC Bold" pitchFamily="2" charset="0"/>
              </a:rPr>
              <a:t>Verification of information</a:t>
            </a:r>
            <a:endParaRPr lang="en-US" sz="900" b="1" dirty="0">
              <a:solidFill>
                <a:schemeClr val="accent1"/>
              </a:solidFill>
              <a:latin typeface="GT Walsheim LC Bold" pitchFamily="2" charset="0"/>
              <a:cs typeface="GT Walsheim LC Bold" pitchFamily="2" charset="0"/>
            </a:endParaRPr>
          </a:p>
          <a:p>
            <a:pPr marL="0" indent="0" algn="l">
              <a:spcAft>
                <a:spcPts val="600"/>
              </a:spcAft>
              <a:buNone/>
            </a:pPr>
            <a:r>
              <a:rPr lang="en-US" sz="900" b="0" i="0" u="none" strike="noStrike" baseline="0" dirty="0"/>
              <a:t>The information contained in this Report has been provided by the management of the Investment solely for the Purpose and has not been checked or verified by </a:t>
            </a:r>
            <a:r>
              <a:rPr lang="en-US" sz="900" dirty="0"/>
              <a:t>Doane GTCFI</a:t>
            </a:r>
            <a:r>
              <a:rPr lang="en-US" sz="900" b="0" i="0" u="none" strike="noStrike" baseline="0" dirty="0"/>
              <a:t>. No representation or warranty express or implied is or will be made, and no responsibility or liability is accepted by the Investment, Doane GTCFI, or any of their respective affiliates and associates or their directors, officers, employees, agents, shareholder or advisors as to, or in relation to, the shares, business or prospects of the Investment, or with respect to the adequacy, accuracy, completeness or reasonableness of the facts, opinions, estimates, forecasts, projections or other information set out in this Report or any further information, written or oral or other, supplied in connection with it or omitted therefrom.  </a:t>
            </a:r>
            <a:endParaRPr lang="en-US" sz="900" dirty="0"/>
          </a:p>
          <a:p>
            <a:pPr marL="0" indent="0" algn="l">
              <a:spcAft>
                <a:spcPts val="600"/>
              </a:spcAft>
              <a:buNone/>
            </a:pPr>
            <a:r>
              <a:rPr lang="en-US" sz="900" b="0" i="0" u="none" strike="noStrike" baseline="0" dirty="0"/>
              <a:t>Nothing contained within this Report is or should be relied upon as a promise or representation as to the future. The financial information (historical, forecast or pro-forma) contained in this Report was prepared expressly for use in this Report and is based on certain assumptions and management’s analysis of information available at the time this Report was prepared. There is no representation, warranty or other assurance that any of the forecasts will be realized. </a:t>
            </a:r>
          </a:p>
          <a:p>
            <a:pPr marL="0" indent="0" algn="l">
              <a:spcAft>
                <a:spcPts val="600"/>
              </a:spcAft>
              <a:buNone/>
            </a:pPr>
            <a:r>
              <a:rPr lang="en-US" sz="900" dirty="0"/>
              <a:t>The Report includes certain statements with respect to the anticipated future performance of the Investment, further details of which may be made available to the Recipient in relation to the Purpose. Such statements, which reflect various subjective assumptions concerning anticipated results, may or may not prove to be accurate, correct or complete. No representations or warranties express or implied, are made as to the accuracy of such statements.</a:t>
            </a:r>
            <a:endParaRPr lang="en-US" sz="900" b="0" i="0" u="none" strike="noStrike" baseline="0" dirty="0"/>
          </a:p>
          <a:p>
            <a:pPr marL="0" indent="0" algn="l">
              <a:buNone/>
            </a:pPr>
            <a:r>
              <a:rPr lang="en-US" sz="900" b="0" i="0" u="none" strike="noStrike" baseline="0" dirty="0"/>
              <a:t>The information contained in this Report and any further information relating to the Investment is, and will be, supplied on the condition that</a:t>
            </a:r>
            <a:r>
              <a:rPr lang="en-US" sz="900" dirty="0"/>
              <a:t> none</a:t>
            </a:r>
            <a:r>
              <a:rPr lang="en-US" sz="900" b="0" i="0" u="none" strike="noStrike" baseline="0" dirty="0"/>
              <a:t> of the Investment, Doane GTCFI, or any of their respective affiliates and associates (or any director, officer, shareholder, partner, employee, agent or advisor of any of them) accepts any responsibility and/or liability for any loss or damage of whatsoever nature that may result or occur by reliance on such  information and howsoever arising.</a:t>
            </a:r>
          </a:p>
        </p:txBody>
      </p:sp>
      <p:sp>
        <p:nvSpPr>
          <p:cNvPr id="7" name="Slide Number Placeholder 6">
            <a:extLst>
              <a:ext uri="{FF2B5EF4-FFF2-40B4-BE49-F238E27FC236}">
                <a16:creationId xmlns:a16="http://schemas.microsoft.com/office/drawing/2014/main" id="{9D0EDE6B-1946-C0A4-03D6-5507C11B24BC}"/>
              </a:ext>
            </a:extLst>
          </p:cNvPr>
          <p:cNvSpPr>
            <a:spLocks noGrp="1"/>
          </p:cNvSpPr>
          <p:nvPr>
            <p:ph type="sldNum" sz="quarter" idx="4"/>
          </p:nvPr>
        </p:nvSpPr>
        <p:spPr/>
        <p:txBody>
          <a:bodyPr/>
          <a:lstStyle/>
          <a:p>
            <a:fld id="{1AB31D9B-80B6-41F8-B283-556E26E6158E}" type="slidenum">
              <a:rPr lang="en-GB" smtClean="0"/>
              <a:pPr/>
              <a:t>2</a:t>
            </a:fld>
            <a:endParaRPr lang="en-GB"/>
          </a:p>
        </p:txBody>
      </p:sp>
      <p:sp>
        <p:nvSpPr>
          <p:cNvPr id="5" name="Footer Placeholder 5">
            <a:extLst>
              <a:ext uri="{FF2B5EF4-FFF2-40B4-BE49-F238E27FC236}">
                <a16:creationId xmlns:a16="http://schemas.microsoft.com/office/drawing/2014/main" id="{5527170D-662D-DDC3-2210-B6711DD4B8CA}"/>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76300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2EC87-2F77-7561-687E-29BB782EBDC4}"/>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EA51D9E-80BF-F22C-01FB-0EA222E7990C}"/>
              </a:ext>
            </a:extLst>
          </p:cNvPr>
          <p:cNvSpPr>
            <a:spLocks noGrp="1"/>
          </p:cNvSpPr>
          <p:nvPr>
            <p:ph type="title"/>
          </p:nvPr>
        </p:nvSpPr>
        <p:spPr>
          <a:xfrm>
            <a:off x="381005" y="508005"/>
            <a:ext cx="7770957" cy="346249"/>
          </a:xfrm>
        </p:spPr>
        <p:txBody>
          <a:bodyPr/>
          <a:lstStyle/>
          <a:p>
            <a:r>
              <a:rPr lang="en-US" b="1"/>
              <a:t>Water and Wastewater Agreement with AK (continued) </a:t>
            </a:r>
            <a:endParaRPr lang="en-US"/>
          </a:p>
        </p:txBody>
      </p:sp>
      <p:sp>
        <p:nvSpPr>
          <p:cNvPr id="9" name="Content Placeholder 8">
            <a:extLst>
              <a:ext uri="{FF2B5EF4-FFF2-40B4-BE49-F238E27FC236}">
                <a16:creationId xmlns:a16="http://schemas.microsoft.com/office/drawing/2014/main" id="{672A1882-FBDD-7C24-9E6C-916BA2056291}"/>
              </a:ext>
            </a:extLst>
          </p:cNvPr>
          <p:cNvSpPr>
            <a:spLocks noGrp="1"/>
          </p:cNvSpPr>
          <p:nvPr>
            <p:ph sz="quarter" idx="15"/>
          </p:nvPr>
        </p:nvSpPr>
        <p:spPr>
          <a:xfrm>
            <a:off x="381000" y="1559198"/>
            <a:ext cx="8382000" cy="4260849"/>
          </a:xfrm>
        </p:spPr>
        <p:txBody>
          <a:bodyPr/>
          <a:lstStyle/>
          <a:p>
            <a:pPr marL="0" indent="0">
              <a:buNone/>
            </a:pPr>
            <a:r>
              <a:rPr lang="en-US" sz="1400" b="1" dirty="0"/>
              <a:t>Infrastructure Responsibilities</a:t>
            </a:r>
          </a:p>
          <a:p>
            <a:pPr marL="283210" indent="-283210">
              <a:spcAft>
                <a:spcPts val="600"/>
              </a:spcAft>
            </a:pPr>
            <a:r>
              <a:rPr lang="en-US" sz="1400" dirty="0"/>
              <a:t>The City/GBE will construct water and wastewater infrastructure up to the “External City Works Connection Point” at Third Concession and Snider Road. One Forty Developments will build infrastructure from the connection point to AK’s site, at their own cost and to City specifications.</a:t>
            </a:r>
          </a:p>
          <a:p>
            <a:pPr marL="0" indent="0">
              <a:buNone/>
            </a:pPr>
            <a:r>
              <a:rPr lang="en-US" sz="1400" b="1" dirty="0"/>
              <a:t>Governance &amp; Operational Oversight</a:t>
            </a:r>
          </a:p>
          <a:p>
            <a:pPr marL="283210" indent="-283210">
              <a:spcAft>
                <a:spcPts val="600"/>
              </a:spcAft>
            </a:pPr>
            <a:r>
              <a:rPr lang="en-US" sz="1400" dirty="0"/>
              <a:t>The agreement will be transferred to the GBE within the newly created ESEL Water and Wastewater District. A HOLDCO will oversee governance, ensuring alignment with municipal objectives and enabling off-balance-sheet financing. The Niagara Region will assume responsibility for operating and maintaining the wastewater pumping stations and </a:t>
            </a:r>
            <a:r>
              <a:rPr lang="en-US" sz="1400" dirty="0" err="1"/>
              <a:t>forcemains</a:t>
            </a:r>
            <a:r>
              <a:rPr lang="en-US" sz="1400" dirty="0"/>
              <a:t> once construction is complete and conditions are met.</a:t>
            </a:r>
          </a:p>
          <a:p>
            <a:pPr marL="0" indent="0">
              <a:buNone/>
            </a:pPr>
            <a:r>
              <a:rPr lang="en-US" sz="1400" b="1" dirty="0"/>
              <a:t>Risk Management &amp; Status </a:t>
            </a:r>
          </a:p>
          <a:p>
            <a:pPr marL="283210" indent="-283210">
              <a:spcAft>
                <a:spcPts val="600"/>
              </a:spcAft>
            </a:pPr>
            <a:r>
              <a:rPr lang="en-US" sz="1400" dirty="0">
                <a:latin typeface="GT Walsheim LC Light"/>
              </a:rPr>
              <a:t>The agreement includes termination and default provisions to protect the City and GBE. Confirmation from the Niagara Region is intended to ensure adequate water supply and wastewater treatment capacity for current and future needs. Final approval is pending within AK’s organization, with execution expected upon fulfillment of all conditions.</a:t>
            </a:r>
          </a:p>
          <a:p>
            <a:pPr marL="342900" indent="-342900">
              <a:buFont typeface="+mj-lt"/>
              <a:buAutoNum type="arabicPeriod"/>
            </a:pPr>
            <a:endParaRPr lang="en-US" sz="1400" dirty="0"/>
          </a:p>
        </p:txBody>
      </p:sp>
      <p:sp>
        <p:nvSpPr>
          <p:cNvPr id="7" name="Slide Number Placeholder 6">
            <a:extLst>
              <a:ext uri="{FF2B5EF4-FFF2-40B4-BE49-F238E27FC236}">
                <a16:creationId xmlns:a16="http://schemas.microsoft.com/office/drawing/2014/main" id="{8CFA66CF-B841-DF65-3286-1A1D651E1B1A}"/>
              </a:ext>
            </a:extLst>
          </p:cNvPr>
          <p:cNvSpPr>
            <a:spLocks noGrp="1"/>
          </p:cNvSpPr>
          <p:nvPr>
            <p:ph type="sldNum" sz="quarter" idx="4"/>
          </p:nvPr>
        </p:nvSpPr>
        <p:spPr/>
        <p:txBody>
          <a:bodyPr/>
          <a:lstStyle/>
          <a:p>
            <a:fld id="{1AB31D9B-80B6-41F8-B283-556E26E6158E}" type="slidenum">
              <a:rPr lang="en-GB" smtClean="0"/>
              <a:pPr/>
              <a:t>20</a:t>
            </a:fld>
            <a:endParaRPr lang="en-GB"/>
          </a:p>
        </p:txBody>
      </p:sp>
      <p:pic>
        <p:nvPicPr>
          <p:cNvPr id="2" name="Picture 1">
            <a:extLst>
              <a:ext uri="{FF2B5EF4-FFF2-40B4-BE49-F238E27FC236}">
                <a16:creationId xmlns:a16="http://schemas.microsoft.com/office/drawing/2014/main" id="{160085A5-62DF-13CF-CDC5-FBDAE26122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4" name="Footer Placeholder 5">
            <a:extLst>
              <a:ext uri="{FF2B5EF4-FFF2-40B4-BE49-F238E27FC236}">
                <a16:creationId xmlns:a16="http://schemas.microsoft.com/office/drawing/2014/main" id="{A3F6FF93-BBCA-DDD3-3A59-79BC9EBBAB06}"/>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8179707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29527-91B8-88B1-4BC1-37D36A7C87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C5D9EA-12ED-4661-1140-39816F49F151}"/>
              </a:ext>
            </a:extLst>
          </p:cNvPr>
          <p:cNvSpPr>
            <a:spLocks noGrp="1"/>
          </p:cNvSpPr>
          <p:nvPr>
            <p:ph type="title"/>
          </p:nvPr>
        </p:nvSpPr>
        <p:spPr/>
        <p:txBody>
          <a:bodyPr/>
          <a:lstStyle/>
          <a:p>
            <a:r>
              <a:rPr lang="en-US"/>
              <a:t>Project Funding Overview</a:t>
            </a:r>
            <a:endParaRPr lang="en-CA"/>
          </a:p>
        </p:txBody>
      </p:sp>
      <p:sp>
        <p:nvSpPr>
          <p:cNvPr id="4" name="Slide Number Placeholder 3">
            <a:extLst>
              <a:ext uri="{FF2B5EF4-FFF2-40B4-BE49-F238E27FC236}">
                <a16:creationId xmlns:a16="http://schemas.microsoft.com/office/drawing/2014/main" id="{A2635E81-D07B-F5CE-21BE-1A93371BE0C9}"/>
              </a:ext>
            </a:extLst>
          </p:cNvPr>
          <p:cNvSpPr>
            <a:spLocks noGrp="1"/>
          </p:cNvSpPr>
          <p:nvPr>
            <p:ph type="sldNum" sz="quarter" idx="4"/>
          </p:nvPr>
        </p:nvSpPr>
        <p:spPr/>
        <p:txBody>
          <a:bodyPr/>
          <a:lstStyle/>
          <a:p>
            <a:fld id="{1AB31D9B-80B6-41F8-B283-556E26E6158E}" type="slidenum">
              <a:rPr lang="en-GB" smtClean="0"/>
              <a:pPr/>
              <a:t>21</a:t>
            </a:fld>
            <a:endParaRPr lang="en-GB"/>
          </a:p>
        </p:txBody>
      </p:sp>
      <p:sp>
        <p:nvSpPr>
          <p:cNvPr id="3" name="Text Placeholder 1">
            <a:extLst>
              <a:ext uri="{FF2B5EF4-FFF2-40B4-BE49-F238E27FC236}">
                <a16:creationId xmlns:a16="http://schemas.microsoft.com/office/drawing/2014/main" id="{D96AAD31-312C-3ABF-8C2F-E1C86087A93C}"/>
              </a:ext>
            </a:extLst>
          </p:cNvPr>
          <p:cNvSpPr txBox="1">
            <a:spLocks/>
          </p:cNvSpPr>
          <p:nvPr/>
        </p:nvSpPr>
        <p:spPr>
          <a:xfrm>
            <a:off x="668079" y="1990926"/>
            <a:ext cx="7825992" cy="2114730"/>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283210" indent="-283210" defTabSz="946862">
              <a:spcAft>
                <a:spcPts val="600"/>
              </a:spcAft>
            </a:pPr>
            <a:r>
              <a:rPr lang="en-US" sz="1400" dirty="0">
                <a:latin typeface="GT Walsheim LC Light" pitchFamily="2" charset="0"/>
                <a:cs typeface="GT Walsheim LC Light" pitchFamily="2" charset="0"/>
              </a:rPr>
              <a:t>The GBE’s revenue projections are anchored in the terms outlined in the MPA with AK. </a:t>
            </a:r>
          </a:p>
          <a:p>
            <a:pPr marL="283210" indent="-283210" defTabSz="946862">
              <a:spcAft>
                <a:spcPts val="600"/>
              </a:spcAft>
            </a:pPr>
            <a:r>
              <a:rPr lang="en-US" sz="1400" dirty="0">
                <a:latin typeface="GT Walsheim LC Light" pitchFamily="2" charset="0"/>
                <a:cs typeface="GT Walsheim LC Light" pitchFamily="2" charset="0"/>
              </a:rPr>
              <a:t>Operating cost estimates have been provided by City Management and include expenses related to repairs and maintenance, wages and board member compensation, service agreements, insurance, professional fees, interest, and other administrative costs.</a:t>
            </a:r>
          </a:p>
          <a:p>
            <a:pPr marL="283210" indent="-283210" defTabSz="946862">
              <a:spcAft>
                <a:spcPts val="600"/>
              </a:spcAft>
            </a:pPr>
            <a:r>
              <a:rPr lang="en-US" sz="1400" dirty="0">
                <a:latin typeface="GT Walsheim LC Light" pitchFamily="2" charset="0"/>
                <a:cs typeface="GT Walsheim LC Light" pitchFamily="2" charset="0"/>
              </a:rPr>
              <a:t>To fund the project, the corporation will require $32.4 million in financing, which will be split evenly between public and private lenders. </a:t>
            </a:r>
          </a:p>
          <a:p>
            <a:pPr marL="283210" indent="-283210" defTabSz="946862">
              <a:spcAft>
                <a:spcPts val="600"/>
              </a:spcAft>
            </a:pPr>
            <a:r>
              <a:rPr lang="en-US" sz="1400" dirty="0">
                <a:latin typeface="GT Walsheim LC Light" pitchFamily="2" charset="0"/>
                <a:cs typeface="GT Walsheim LC Light" pitchFamily="2" charset="0"/>
              </a:rPr>
              <a:t>This funding will support the construction of key infrastructure components, including a watermain, a wastewater </a:t>
            </a:r>
            <a:r>
              <a:rPr lang="en-US" sz="1400" dirty="0" err="1">
                <a:latin typeface="GT Walsheim LC Light" pitchFamily="2" charset="0"/>
                <a:cs typeface="GT Walsheim LC Light" pitchFamily="2" charset="0"/>
              </a:rPr>
              <a:t>forcemain</a:t>
            </a:r>
            <a:r>
              <a:rPr lang="en-US" sz="1400" dirty="0">
                <a:latin typeface="GT Walsheim LC Light" pitchFamily="2" charset="0"/>
                <a:cs typeface="GT Walsheim LC Light" pitchFamily="2" charset="0"/>
              </a:rPr>
              <a:t>, and a wastewater pumping station.</a:t>
            </a:r>
          </a:p>
          <a:p>
            <a:pPr marL="0" indent="0">
              <a:spcAft>
                <a:spcPts val="0"/>
              </a:spcAft>
              <a:buFont typeface="Arial" panose="020B0604020202020204" pitchFamily="34" charset="0"/>
              <a:buNone/>
            </a:pPr>
            <a:endParaRPr lang="en-US" sz="1600" dirty="0">
              <a:latin typeface="GT Walsheim LC Light" pitchFamily="2" charset="0"/>
              <a:cs typeface="GT Walsheim LC Light" pitchFamily="2" charset="0"/>
            </a:endParaRPr>
          </a:p>
        </p:txBody>
      </p:sp>
      <p:pic>
        <p:nvPicPr>
          <p:cNvPr id="7" name="Picture 6">
            <a:extLst>
              <a:ext uri="{FF2B5EF4-FFF2-40B4-BE49-F238E27FC236}">
                <a16:creationId xmlns:a16="http://schemas.microsoft.com/office/drawing/2014/main" id="{3A755376-DE6B-D4C7-74D3-77288EEEB1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9" name="TextBox 8">
            <a:extLst>
              <a:ext uri="{FF2B5EF4-FFF2-40B4-BE49-F238E27FC236}">
                <a16:creationId xmlns:a16="http://schemas.microsoft.com/office/drawing/2014/main" id="{F9A231B1-0877-62C1-6AF5-3BFABCD8CFBD}"/>
              </a:ext>
            </a:extLst>
          </p:cNvPr>
          <p:cNvSpPr txBox="1"/>
          <p:nvPr/>
        </p:nvSpPr>
        <p:spPr>
          <a:xfrm>
            <a:off x="646433" y="4368740"/>
            <a:ext cx="7847638" cy="1615827"/>
          </a:xfrm>
          <a:prstGeom prst="rect">
            <a:avLst/>
          </a:prstGeom>
          <a:solidFill>
            <a:schemeClr val="accent5">
              <a:lumMod val="20000"/>
              <a:lumOff val="80000"/>
            </a:schemeClr>
          </a:solidFill>
          <a:ln w="38100">
            <a:solidFill>
              <a:schemeClr val="tx1"/>
            </a:solidFill>
          </a:ln>
        </p:spPr>
        <p:txBody>
          <a:bodyPr wrap="square" lIns="91440" tIns="45720" rIns="91440" bIns="45720" anchor="t">
            <a:spAutoFit/>
          </a:bodyPr>
          <a:lstStyle/>
          <a:p>
            <a:pPr>
              <a:buNone/>
            </a:pPr>
            <a:r>
              <a:rPr lang="en-US" sz="1400" b="1" dirty="0">
                <a:latin typeface="GT Walsheim LC Light" pitchFamily="2" charset="0"/>
                <a:cs typeface="GT Walsheim LC Light" pitchFamily="2" charset="0"/>
              </a:rPr>
              <a:t>Key Highlights</a:t>
            </a:r>
          </a:p>
          <a:p>
            <a:pPr marL="285750" indent="-285750">
              <a:buFont typeface="Arial" panose="020B0604020202020204" pitchFamily="34" charset="0"/>
              <a:buChar char="•"/>
            </a:pPr>
            <a:r>
              <a:rPr lang="en-US" sz="1400" dirty="0">
                <a:latin typeface="GT Walsheim LC Light"/>
                <a:cs typeface="GT Walsheim LC Light" pitchFamily="2" charset="0"/>
              </a:rPr>
              <a:t>No impact on current ratepayers: All costs are intended to be recovered from AK and future ESEL user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Cost ceiling of $32.4M: Overages covered by development charges or future user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Regional partnership: The Niagara Region to assume ownership of pumping stations and force mains post-construction.</a:t>
            </a:r>
          </a:p>
        </p:txBody>
      </p:sp>
      <p:sp>
        <p:nvSpPr>
          <p:cNvPr id="8" name="Footer Placeholder 5">
            <a:extLst>
              <a:ext uri="{FF2B5EF4-FFF2-40B4-BE49-F238E27FC236}">
                <a16:creationId xmlns:a16="http://schemas.microsoft.com/office/drawing/2014/main" id="{858A5500-1EA9-164A-A821-2E5A4029C892}"/>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
        <p:nvSpPr>
          <p:cNvPr id="6" name="Rectangle 5">
            <a:extLst>
              <a:ext uri="{FF2B5EF4-FFF2-40B4-BE49-F238E27FC236}">
                <a16:creationId xmlns:a16="http://schemas.microsoft.com/office/drawing/2014/main" id="{BD49F033-8694-3350-F8C5-8B37EF6D8B94}"/>
              </a:ext>
            </a:extLst>
          </p:cNvPr>
          <p:cNvSpPr/>
          <p:nvPr/>
        </p:nvSpPr>
        <p:spPr>
          <a:xfrm>
            <a:off x="0" y="1160462"/>
            <a:ext cx="9144000" cy="71791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10" name="TextBox 9">
            <a:extLst>
              <a:ext uri="{FF2B5EF4-FFF2-40B4-BE49-F238E27FC236}">
                <a16:creationId xmlns:a16="http://schemas.microsoft.com/office/drawing/2014/main" id="{7271F17B-000B-79C6-DDDD-B88351899669}"/>
              </a:ext>
            </a:extLst>
          </p:cNvPr>
          <p:cNvSpPr txBox="1"/>
          <p:nvPr/>
        </p:nvSpPr>
        <p:spPr>
          <a:xfrm>
            <a:off x="380998" y="1205015"/>
            <a:ext cx="8382001" cy="584775"/>
          </a:xfrm>
          <a:prstGeom prst="rect">
            <a:avLst/>
          </a:prstGeom>
          <a:noFill/>
        </p:spPr>
        <p:txBody>
          <a:bodyPr wrap="square">
            <a:spAutoFit/>
          </a:bodyPr>
          <a:lstStyle/>
          <a:p>
            <a:pPr marL="0" indent="0" algn="ctr">
              <a:buFont typeface="Arial" panose="020B0604020202020204" pitchFamily="34" charset="0"/>
              <a:buNone/>
            </a:pPr>
            <a:r>
              <a:rPr lang="en-US" sz="1600" dirty="0">
                <a:solidFill>
                  <a:schemeClr val="bg1"/>
                </a:solidFill>
                <a:latin typeface="GT Walsheim LC Bold" pitchFamily="2" charset="0"/>
                <a:cs typeface="GT Walsheim LC Bold" pitchFamily="2" charset="0"/>
              </a:rPr>
              <a:t>The GBE is financially positioned to support construction through the financing, maintain positive cash flow, and meet its debt obligations over the life of the asset.</a:t>
            </a:r>
          </a:p>
        </p:txBody>
      </p:sp>
    </p:spTree>
    <p:extLst>
      <p:ext uri="{BB962C8B-B14F-4D97-AF65-F5344CB8AC3E}">
        <p14:creationId xmlns:p14="http://schemas.microsoft.com/office/powerpoint/2010/main" val="3847568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E13FE-546C-2451-A12D-D2A04F3A63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C10E9B-7072-97FF-902C-A20C234B9CA0}"/>
              </a:ext>
            </a:extLst>
          </p:cNvPr>
          <p:cNvSpPr>
            <a:spLocks noGrp="1"/>
          </p:cNvSpPr>
          <p:nvPr>
            <p:ph type="title"/>
          </p:nvPr>
        </p:nvSpPr>
        <p:spPr>
          <a:xfrm>
            <a:off x="1094185" y="2924178"/>
            <a:ext cx="5453264" cy="694870"/>
          </a:xfrm>
        </p:spPr>
        <p:txBody>
          <a:bodyPr/>
          <a:lstStyle/>
          <a:p>
            <a:r>
              <a:rPr lang="en-US"/>
              <a:t>Geographic Scope &amp; Milestones</a:t>
            </a:r>
          </a:p>
        </p:txBody>
      </p:sp>
      <p:sp>
        <p:nvSpPr>
          <p:cNvPr id="5" name="Slide Number Placeholder 4">
            <a:extLst>
              <a:ext uri="{FF2B5EF4-FFF2-40B4-BE49-F238E27FC236}">
                <a16:creationId xmlns:a16="http://schemas.microsoft.com/office/drawing/2014/main" id="{730FAD02-D10A-D16B-4883-898C096920B1}"/>
              </a:ext>
            </a:extLst>
          </p:cNvPr>
          <p:cNvSpPr>
            <a:spLocks noGrp="1"/>
          </p:cNvSpPr>
          <p:nvPr>
            <p:ph type="sldNum" sz="quarter" idx="4"/>
          </p:nvPr>
        </p:nvSpPr>
        <p:spPr/>
        <p:txBody>
          <a:bodyPr/>
          <a:lstStyle/>
          <a:p>
            <a:fld id="{1AB31D9B-80B6-41F8-B283-556E26E6158E}" type="slidenum">
              <a:rPr lang="en-GB" smtClean="0"/>
              <a:pPr/>
              <a:t>22</a:t>
            </a:fld>
            <a:endParaRPr lang="en-GB"/>
          </a:p>
        </p:txBody>
      </p:sp>
      <p:sp>
        <p:nvSpPr>
          <p:cNvPr id="3" name="Footer Placeholder 5">
            <a:extLst>
              <a:ext uri="{FF2B5EF4-FFF2-40B4-BE49-F238E27FC236}">
                <a16:creationId xmlns:a16="http://schemas.microsoft.com/office/drawing/2014/main" id="{0D66CEB8-2C62-DE82-CD2F-7EDE1BAA671C}"/>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018724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C58C4-93B6-C4FB-5D3C-C4CF3A5F8B2F}"/>
              </a:ext>
            </a:extLst>
          </p:cNvPr>
          <p:cNvSpPr>
            <a:spLocks noGrp="1"/>
          </p:cNvSpPr>
          <p:nvPr>
            <p:ph type="title"/>
          </p:nvPr>
        </p:nvSpPr>
        <p:spPr/>
        <p:txBody>
          <a:bodyPr/>
          <a:lstStyle/>
          <a:p>
            <a:r>
              <a:rPr lang="en-US"/>
              <a:t>Geographic Scope</a:t>
            </a:r>
          </a:p>
        </p:txBody>
      </p:sp>
      <p:sp>
        <p:nvSpPr>
          <p:cNvPr id="4" name="Slide Number Placeholder 3">
            <a:extLst>
              <a:ext uri="{FF2B5EF4-FFF2-40B4-BE49-F238E27FC236}">
                <a16:creationId xmlns:a16="http://schemas.microsoft.com/office/drawing/2014/main" id="{45C5226D-CFB2-F114-4728-87230E8E1CD6}"/>
              </a:ext>
            </a:extLst>
          </p:cNvPr>
          <p:cNvSpPr>
            <a:spLocks noGrp="1"/>
          </p:cNvSpPr>
          <p:nvPr>
            <p:ph type="sldNum" sz="quarter" idx="4"/>
          </p:nvPr>
        </p:nvSpPr>
        <p:spPr/>
        <p:txBody>
          <a:bodyPr/>
          <a:lstStyle/>
          <a:p>
            <a:fld id="{1AB31D9B-80B6-41F8-B283-556E26E6158E}" type="slidenum">
              <a:rPr lang="en-GB" smtClean="0"/>
              <a:pPr/>
              <a:t>23</a:t>
            </a:fld>
            <a:endParaRPr lang="en-GB"/>
          </a:p>
        </p:txBody>
      </p:sp>
      <p:sp>
        <p:nvSpPr>
          <p:cNvPr id="5" name="Text Placeholder 1">
            <a:extLst>
              <a:ext uri="{FF2B5EF4-FFF2-40B4-BE49-F238E27FC236}">
                <a16:creationId xmlns:a16="http://schemas.microsoft.com/office/drawing/2014/main" id="{6BCBD649-CBC6-A983-78B1-05358C5C318D}"/>
              </a:ext>
            </a:extLst>
          </p:cNvPr>
          <p:cNvSpPr txBox="1">
            <a:spLocks/>
          </p:cNvSpPr>
          <p:nvPr/>
        </p:nvSpPr>
        <p:spPr>
          <a:xfrm>
            <a:off x="381000" y="1563912"/>
            <a:ext cx="7952112" cy="4503736"/>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None/>
            </a:pPr>
            <a:r>
              <a:rPr lang="en-US" sz="1400" b="1" dirty="0">
                <a:latin typeface="GT Walsheim LC Light" pitchFamily="2" charset="0"/>
                <a:cs typeface="GT Walsheim LC Light" pitchFamily="2" charset="0"/>
              </a:rPr>
              <a:t>Project Location</a:t>
            </a:r>
            <a:r>
              <a:rPr lang="en-US" sz="1400" dirty="0">
                <a:latin typeface="GT Walsheim LC Light" pitchFamily="2" charset="0"/>
                <a:cs typeface="GT Walsheim LC Light" pitchFamily="2" charset="0"/>
              </a:rPr>
              <a:t> </a:t>
            </a:r>
          </a:p>
          <a:p>
            <a:pPr marL="283464" indent="-283464">
              <a:spcAft>
                <a:spcPts val="600"/>
              </a:spcAft>
            </a:pPr>
            <a:r>
              <a:rPr lang="en-US" sz="1400" dirty="0">
                <a:latin typeface="GT Walsheim LC Light" pitchFamily="2" charset="0"/>
                <a:cs typeface="GT Walsheim LC Light" pitchFamily="2" charset="0"/>
              </a:rPr>
              <a:t>The project is located in the northern corridor of Port Colborne, within the Niagara Gateway Economic Zone. It includes the ESEL, which are currently </a:t>
            </a:r>
            <a:r>
              <a:rPr lang="en-US" sz="1400" dirty="0" err="1">
                <a:latin typeface="GT Walsheim LC Light" pitchFamily="2" charset="0"/>
                <a:cs typeface="GT Walsheim LC Light" pitchFamily="2" charset="0"/>
              </a:rPr>
              <a:t>unserviced</a:t>
            </a:r>
            <a:r>
              <a:rPr lang="en-US" sz="1400" dirty="0">
                <a:latin typeface="GT Walsheim LC Light" pitchFamily="2" charset="0"/>
                <a:cs typeface="GT Walsheim LC Light" pitchFamily="2" charset="0"/>
              </a:rPr>
              <a:t> but zoned for industrial use, and the AK Battery Separator Plant site, situated just north of </a:t>
            </a:r>
            <a:r>
              <a:rPr lang="en-US" sz="1400" dirty="0" err="1">
                <a:latin typeface="GT Walsheim LC Light" pitchFamily="2" charset="0"/>
                <a:cs typeface="GT Walsheim LC Light" pitchFamily="2" charset="0"/>
              </a:rPr>
              <a:t>Forkes</a:t>
            </a:r>
            <a:r>
              <a:rPr lang="en-US" sz="1400" dirty="0">
                <a:latin typeface="GT Walsheim LC Light" pitchFamily="2" charset="0"/>
                <a:cs typeface="GT Walsheim LC Light" pitchFamily="2" charset="0"/>
              </a:rPr>
              <a:t> Road.</a:t>
            </a:r>
          </a:p>
          <a:p>
            <a:pPr marL="0" indent="0">
              <a:buNone/>
            </a:pPr>
            <a:r>
              <a:rPr lang="en-US" sz="1400" b="1" dirty="0">
                <a:latin typeface="GT Walsheim LC Light" pitchFamily="2" charset="0"/>
                <a:cs typeface="GT Walsheim LC Light" pitchFamily="2" charset="0"/>
              </a:rPr>
              <a:t>Infrastructure Reach</a:t>
            </a:r>
            <a:r>
              <a:rPr lang="en-US" sz="1400" dirty="0">
                <a:latin typeface="GT Walsheim LC Light" pitchFamily="2" charset="0"/>
                <a:cs typeface="GT Walsheim LC Light" pitchFamily="2" charset="0"/>
              </a:rPr>
              <a:t> </a:t>
            </a:r>
          </a:p>
          <a:p>
            <a:pPr marL="283464" indent="-283464">
              <a:spcAft>
                <a:spcPts val="600"/>
              </a:spcAft>
            </a:pPr>
            <a:r>
              <a:rPr lang="en-US" sz="1400" dirty="0">
                <a:latin typeface="GT Walsheim LC Light" pitchFamily="2" charset="0"/>
                <a:cs typeface="GT Walsheim LC Light" pitchFamily="2" charset="0"/>
              </a:rPr>
              <a:t>A new water district is being established to encompass the ESEL, the AK site, and adjacent industrial lands. This district will be serviced by new watermains, wastewater pumping stations, and </a:t>
            </a:r>
            <a:r>
              <a:rPr lang="en-US" sz="1400" dirty="0" err="1">
                <a:latin typeface="GT Walsheim LC Light" pitchFamily="2" charset="0"/>
                <a:cs typeface="GT Walsheim LC Light" pitchFamily="2" charset="0"/>
              </a:rPr>
              <a:t>forcemains</a:t>
            </a:r>
            <a:r>
              <a:rPr lang="en-US" sz="1400" dirty="0">
                <a:latin typeface="GT Walsheim LC Light" pitchFamily="2" charset="0"/>
                <a:cs typeface="GT Walsheim LC Light" pitchFamily="2" charset="0"/>
              </a:rPr>
              <a:t>, all owned and financed by the MSC.</a:t>
            </a:r>
          </a:p>
          <a:p>
            <a:pPr marL="0" indent="0">
              <a:buNone/>
            </a:pPr>
            <a:r>
              <a:rPr lang="en-US" sz="1400" b="1" dirty="0">
                <a:latin typeface="GT Walsheim LC Light" pitchFamily="2" charset="0"/>
                <a:cs typeface="GT Walsheim LC Light" pitchFamily="2" charset="0"/>
              </a:rPr>
              <a:t>Regional Integration</a:t>
            </a:r>
          </a:p>
          <a:p>
            <a:pPr marL="283464" indent="-283464">
              <a:spcAft>
                <a:spcPts val="600"/>
              </a:spcAft>
            </a:pPr>
            <a:r>
              <a:rPr lang="en-US" sz="1400" dirty="0">
                <a:latin typeface="GT Walsheim LC Light" pitchFamily="2" charset="0"/>
                <a:cs typeface="GT Walsheim LC Light" pitchFamily="2" charset="0"/>
              </a:rPr>
              <a:t>The Niagara Region is constructing a tunnel beneath the </a:t>
            </a:r>
            <a:r>
              <a:rPr lang="en-US" sz="1400" dirty="0" err="1">
                <a:latin typeface="GT Walsheim LC Light" pitchFamily="2" charset="0"/>
                <a:cs typeface="GT Walsheim LC Light" pitchFamily="2" charset="0"/>
              </a:rPr>
              <a:t>Welland</a:t>
            </a:r>
            <a:r>
              <a:rPr lang="en-US" sz="1400" dirty="0">
                <a:latin typeface="GT Walsheim LC Light" pitchFamily="2" charset="0"/>
                <a:cs typeface="GT Walsheim LC Light" pitchFamily="2" charset="0"/>
              </a:rPr>
              <a:t> Canal to connect regional infrastructure with the local servicing network. The City of Port Colborne will lead the design and construction of local systems, while the Region will operate and eventually assume ownership of key assets.</a:t>
            </a:r>
          </a:p>
          <a:p>
            <a:pPr marL="0" indent="0">
              <a:buNone/>
            </a:pPr>
            <a:r>
              <a:rPr lang="en-US" sz="1400" dirty="0">
                <a:latin typeface="GT Walsheim LC Light" pitchFamily="2" charset="0"/>
                <a:cs typeface="GT Walsheim LC Light" pitchFamily="2" charset="0"/>
              </a:rPr>
              <a:t>Appendix B contains a map detailing the location of the project.</a:t>
            </a:r>
          </a:p>
        </p:txBody>
      </p:sp>
      <p:pic>
        <p:nvPicPr>
          <p:cNvPr id="20" name="Picture 19">
            <a:extLst>
              <a:ext uri="{FF2B5EF4-FFF2-40B4-BE49-F238E27FC236}">
                <a16:creationId xmlns:a16="http://schemas.microsoft.com/office/drawing/2014/main" id="{2F5AA573-3D7A-C052-B300-9D7A69BAF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6" name="Footer Placeholder 5">
            <a:extLst>
              <a:ext uri="{FF2B5EF4-FFF2-40B4-BE49-F238E27FC236}">
                <a16:creationId xmlns:a16="http://schemas.microsoft.com/office/drawing/2014/main" id="{1FEC8608-BD5E-991B-ABD9-C236BEAD5794}"/>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330599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7C04C-619C-2AFF-1D03-43D7D325C6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BD6A46-DF22-4EC5-513C-FA44B2335F18}"/>
              </a:ext>
            </a:extLst>
          </p:cNvPr>
          <p:cNvSpPr>
            <a:spLocks noGrp="1"/>
          </p:cNvSpPr>
          <p:nvPr>
            <p:ph type="title"/>
          </p:nvPr>
        </p:nvSpPr>
        <p:spPr>
          <a:xfrm>
            <a:off x="381005" y="508005"/>
            <a:ext cx="8381995" cy="346249"/>
          </a:xfrm>
        </p:spPr>
        <p:txBody>
          <a:bodyPr/>
          <a:lstStyle/>
          <a:p>
            <a:r>
              <a:rPr lang="en-US"/>
              <a:t>Project Timeline</a:t>
            </a:r>
            <a:endParaRPr lang="en-CA"/>
          </a:p>
        </p:txBody>
      </p:sp>
      <p:sp>
        <p:nvSpPr>
          <p:cNvPr id="4" name="Slide Number Placeholder 3">
            <a:extLst>
              <a:ext uri="{FF2B5EF4-FFF2-40B4-BE49-F238E27FC236}">
                <a16:creationId xmlns:a16="http://schemas.microsoft.com/office/drawing/2014/main" id="{329ED3A3-4FC9-1957-0473-9F22F2E4456F}"/>
              </a:ext>
            </a:extLst>
          </p:cNvPr>
          <p:cNvSpPr>
            <a:spLocks noGrp="1"/>
          </p:cNvSpPr>
          <p:nvPr>
            <p:ph type="sldNum" sz="quarter" idx="4"/>
          </p:nvPr>
        </p:nvSpPr>
        <p:spPr/>
        <p:txBody>
          <a:bodyPr/>
          <a:lstStyle/>
          <a:p>
            <a:fld id="{1AB31D9B-80B6-41F8-B283-556E26E6158E}" type="slidenum">
              <a:rPr lang="en-GB" smtClean="0"/>
              <a:pPr/>
              <a:t>24</a:t>
            </a:fld>
            <a:endParaRPr lang="en-GB"/>
          </a:p>
        </p:txBody>
      </p:sp>
      <p:sp>
        <p:nvSpPr>
          <p:cNvPr id="5" name="Text Placeholder 1">
            <a:extLst>
              <a:ext uri="{FF2B5EF4-FFF2-40B4-BE49-F238E27FC236}">
                <a16:creationId xmlns:a16="http://schemas.microsoft.com/office/drawing/2014/main" id="{A9EC1B6D-E8A8-BAB1-1252-B8D16BE23384}"/>
              </a:ext>
            </a:extLst>
          </p:cNvPr>
          <p:cNvSpPr txBox="1">
            <a:spLocks/>
          </p:cNvSpPr>
          <p:nvPr/>
        </p:nvSpPr>
        <p:spPr>
          <a:xfrm>
            <a:off x="760180" y="1277679"/>
            <a:ext cx="1030520"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1"/>
                </a:solidFill>
                <a:latin typeface="GT Walsheim LC Light" pitchFamily="2" charset="0"/>
                <a:cs typeface="GT Walsheim LC Light" pitchFamily="2" charset="0"/>
              </a:rPr>
              <a:t>May 2024</a:t>
            </a:r>
          </a:p>
          <a:p>
            <a:pPr marL="0" indent="0">
              <a:buNone/>
            </a:pPr>
            <a:r>
              <a:rPr lang="en-US" sz="900" b="0" i="0">
                <a:effectLst/>
                <a:latin typeface="GT Walsheim LC Light" pitchFamily="2" charset="0"/>
                <a:cs typeface="GT Walsheim LC Light" pitchFamily="2" charset="0"/>
              </a:rPr>
              <a:t>AK announced it would construct an Integrated lithium-ion battery separator plant</a:t>
            </a:r>
          </a:p>
        </p:txBody>
      </p:sp>
      <p:cxnSp>
        <p:nvCxnSpPr>
          <p:cNvPr id="7" name="Straight Connector 6">
            <a:extLst>
              <a:ext uri="{FF2B5EF4-FFF2-40B4-BE49-F238E27FC236}">
                <a16:creationId xmlns:a16="http://schemas.microsoft.com/office/drawing/2014/main" id="{67BC0E87-1E1F-ACE2-F4C7-BE7115FAB274}"/>
              </a:ext>
            </a:extLst>
          </p:cNvPr>
          <p:cNvCxnSpPr>
            <a:cxnSpLocks/>
          </p:cNvCxnSpPr>
          <p:nvPr/>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5" name="Text Placeholder 1">
            <a:extLst>
              <a:ext uri="{FF2B5EF4-FFF2-40B4-BE49-F238E27FC236}">
                <a16:creationId xmlns:a16="http://schemas.microsoft.com/office/drawing/2014/main" id="{E06FBA52-F6D0-0281-B735-0B375FDCF4B4}"/>
              </a:ext>
            </a:extLst>
          </p:cNvPr>
          <p:cNvSpPr txBox="1">
            <a:spLocks/>
          </p:cNvSpPr>
          <p:nvPr/>
        </p:nvSpPr>
        <p:spPr>
          <a:xfrm>
            <a:off x="2216447" y="1277679"/>
            <a:ext cx="1064477"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3"/>
                </a:solidFill>
                <a:latin typeface="GT Walsheim LC Light" pitchFamily="2" charset="0"/>
                <a:cs typeface="GT Walsheim LC Light" pitchFamily="2" charset="0"/>
              </a:rPr>
              <a:t>November 2024</a:t>
            </a:r>
          </a:p>
          <a:p>
            <a:pPr marL="0" indent="0">
              <a:buNone/>
            </a:pPr>
            <a:r>
              <a:rPr lang="en-US" sz="900" b="0" i="0">
                <a:effectLst/>
                <a:latin typeface="GT Walsheim LC Light" pitchFamily="2" charset="0"/>
                <a:cs typeface="GT Walsheim LC Light" pitchFamily="2" charset="0"/>
              </a:rPr>
              <a:t>AK purchases the un-serviced land from BMI consortium.</a:t>
            </a:r>
          </a:p>
          <a:p>
            <a:pPr marL="0" indent="0">
              <a:buNone/>
            </a:pPr>
            <a:r>
              <a:rPr lang="en-US" sz="900" b="0" i="0">
                <a:effectLst/>
                <a:latin typeface="GT Walsheim LC Light" pitchFamily="2" charset="0"/>
                <a:cs typeface="GT Walsheim LC Light" pitchFamily="2" charset="0"/>
              </a:rPr>
              <a:t>AK/One Forty Development Inc./City sign Development Agt. </a:t>
            </a:r>
          </a:p>
          <a:p>
            <a:pPr marL="0" indent="0">
              <a:buNone/>
            </a:pPr>
            <a:r>
              <a:rPr lang="en-CA" sz="900">
                <a:latin typeface="GT Walsheim LC Light" pitchFamily="2" charset="0"/>
                <a:cs typeface="GT Walsheim LC Light" pitchFamily="2" charset="0"/>
              </a:rPr>
              <a:t>AK groundbreaking</a:t>
            </a:r>
          </a:p>
          <a:p>
            <a:pPr marL="0" indent="0">
              <a:buNone/>
            </a:pPr>
            <a:endParaRPr lang="en-US" sz="900" b="0" i="0">
              <a:effectLst/>
              <a:latin typeface="GT Walsheim LC Light" pitchFamily="2" charset="0"/>
              <a:cs typeface="GT Walsheim LC Light" pitchFamily="2" charset="0"/>
            </a:endParaRPr>
          </a:p>
          <a:p>
            <a:pPr marL="0" indent="0">
              <a:buNone/>
            </a:pPr>
            <a:endParaRPr lang="en-US" sz="900" b="0" i="0">
              <a:effectLst/>
              <a:latin typeface="GT Walsheim LC Light" pitchFamily="2" charset="0"/>
              <a:cs typeface="GT Walsheim LC Light" pitchFamily="2" charset="0"/>
            </a:endParaRPr>
          </a:p>
          <a:p>
            <a:pPr marL="0" indent="0">
              <a:buNone/>
            </a:pPr>
            <a:endParaRPr lang="en-US" sz="900" b="0" i="0">
              <a:effectLst/>
              <a:latin typeface="GT Walsheim LC Light" pitchFamily="2" charset="0"/>
              <a:cs typeface="GT Walsheim LC Light" pitchFamily="2" charset="0"/>
            </a:endParaRPr>
          </a:p>
        </p:txBody>
      </p:sp>
      <p:sp>
        <p:nvSpPr>
          <p:cNvPr id="39" name="Text Placeholder 1">
            <a:extLst>
              <a:ext uri="{FF2B5EF4-FFF2-40B4-BE49-F238E27FC236}">
                <a16:creationId xmlns:a16="http://schemas.microsoft.com/office/drawing/2014/main" id="{2F1FC096-F7B2-DD39-C112-C9CD551E2644}"/>
              </a:ext>
            </a:extLst>
          </p:cNvPr>
          <p:cNvSpPr txBox="1">
            <a:spLocks/>
          </p:cNvSpPr>
          <p:nvPr/>
        </p:nvSpPr>
        <p:spPr>
          <a:xfrm>
            <a:off x="3670064" y="1277679"/>
            <a:ext cx="1041718"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None/>
            </a:pPr>
            <a:r>
              <a:rPr lang="en-US" sz="1400" b="1">
                <a:solidFill>
                  <a:schemeClr val="accent1"/>
                </a:solidFill>
                <a:latin typeface="GT Walsheim LC Light" pitchFamily="2" charset="0"/>
                <a:cs typeface="GT Walsheim LC Light" pitchFamily="2" charset="0"/>
              </a:rPr>
              <a:t>January 2025</a:t>
            </a:r>
          </a:p>
          <a:p>
            <a:pPr marL="0" indent="0">
              <a:buNone/>
            </a:pPr>
            <a:r>
              <a:rPr lang="en-US" sz="900">
                <a:latin typeface="GT Walsheim LC Light" pitchFamily="2" charset="0"/>
                <a:cs typeface="GT Walsheim LC Light" pitchFamily="2" charset="0"/>
              </a:rPr>
              <a:t>ROMA - HEWSF + Hydro and Highway access</a:t>
            </a:r>
          </a:p>
        </p:txBody>
      </p:sp>
      <p:sp>
        <p:nvSpPr>
          <p:cNvPr id="42" name="Text Placeholder 1">
            <a:extLst>
              <a:ext uri="{FF2B5EF4-FFF2-40B4-BE49-F238E27FC236}">
                <a16:creationId xmlns:a16="http://schemas.microsoft.com/office/drawing/2014/main" id="{57E98456-B810-F76E-6434-D714DB1A10FD}"/>
              </a:ext>
            </a:extLst>
          </p:cNvPr>
          <p:cNvSpPr txBox="1">
            <a:spLocks/>
          </p:cNvSpPr>
          <p:nvPr/>
        </p:nvSpPr>
        <p:spPr>
          <a:xfrm>
            <a:off x="5113995" y="1277679"/>
            <a:ext cx="1185564"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3"/>
                </a:solidFill>
                <a:latin typeface="GT Walsheim LC Light" pitchFamily="2" charset="0"/>
                <a:cs typeface="GT Walsheim LC Light" pitchFamily="2" charset="0"/>
              </a:rPr>
              <a:t>March 2025</a:t>
            </a:r>
          </a:p>
          <a:p>
            <a:pPr marL="0" indent="0">
              <a:buNone/>
            </a:pPr>
            <a:r>
              <a:rPr lang="en-US" sz="900" b="0" i="0">
                <a:effectLst/>
                <a:latin typeface="GT Walsheim LC Light" pitchFamily="2" charset="0"/>
                <a:cs typeface="GT Walsheim LC Light" pitchFamily="2" charset="0"/>
              </a:rPr>
              <a:t>Federal CHIF - $19.25 million ($38.5 million projects)</a:t>
            </a:r>
          </a:p>
        </p:txBody>
      </p:sp>
      <p:sp>
        <p:nvSpPr>
          <p:cNvPr id="49" name="Text Placeholder 1">
            <a:extLst>
              <a:ext uri="{FF2B5EF4-FFF2-40B4-BE49-F238E27FC236}">
                <a16:creationId xmlns:a16="http://schemas.microsoft.com/office/drawing/2014/main" id="{8F8449A7-B11B-D7B4-F7F4-3B30CD9EE0C9}"/>
              </a:ext>
            </a:extLst>
          </p:cNvPr>
          <p:cNvSpPr txBox="1">
            <a:spLocks/>
          </p:cNvSpPr>
          <p:nvPr/>
        </p:nvSpPr>
        <p:spPr>
          <a:xfrm>
            <a:off x="8004681" y="1277679"/>
            <a:ext cx="1040400"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3"/>
                </a:solidFill>
                <a:latin typeface="GT Walsheim LC Light" pitchFamily="2" charset="0"/>
                <a:cs typeface="GT Walsheim LC Light" pitchFamily="2" charset="0"/>
              </a:rPr>
              <a:t>June 2025</a:t>
            </a:r>
          </a:p>
          <a:p>
            <a:pPr marL="0" indent="0">
              <a:buNone/>
            </a:pPr>
            <a:r>
              <a:rPr lang="en-US" sz="900" b="0" i="0">
                <a:effectLst/>
                <a:latin typeface="GT Walsheim LC Light" pitchFamily="2" charset="0"/>
                <a:cs typeface="GT Walsheim LC Light" pitchFamily="2" charset="0"/>
              </a:rPr>
              <a:t>Hydro One takes lead to supply hydro to the project</a:t>
            </a:r>
          </a:p>
          <a:p>
            <a:pPr marL="0" indent="0">
              <a:buNone/>
            </a:pPr>
            <a:endParaRPr lang="en-US" sz="900" b="0" i="0">
              <a:effectLst/>
              <a:latin typeface="GT Walsheim LC Light" pitchFamily="2" charset="0"/>
              <a:cs typeface="GT Walsheim LC Light" pitchFamily="2" charset="0"/>
            </a:endParaRPr>
          </a:p>
          <a:p>
            <a:pPr marL="0" indent="0">
              <a:buNone/>
            </a:pPr>
            <a:r>
              <a:rPr lang="en-US" sz="900" b="0" i="0">
                <a:effectLst/>
                <a:latin typeface="GT Walsheim LC Light" pitchFamily="2" charset="0"/>
                <a:cs typeface="GT Walsheim LC Light" pitchFamily="2" charset="0"/>
              </a:rPr>
              <a:t>$4.3 million Early Works Agreement with Peters Construction Group</a:t>
            </a:r>
          </a:p>
        </p:txBody>
      </p:sp>
      <p:sp>
        <p:nvSpPr>
          <p:cNvPr id="11" name="Text Placeholder 1">
            <a:extLst>
              <a:ext uri="{FF2B5EF4-FFF2-40B4-BE49-F238E27FC236}">
                <a16:creationId xmlns:a16="http://schemas.microsoft.com/office/drawing/2014/main" id="{1EB21BB8-5825-8C2B-ADB0-C0A809293D9D}"/>
              </a:ext>
            </a:extLst>
          </p:cNvPr>
          <p:cNvSpPr txBox="1">
            <a:spLocks/>
          </p:cNvSpPr>
          <p:nvPr/>
        </p:nvSpPr>
        <p:spPr>
          <a:xfrm>
            <a:off x="6544432" y="1277679"/>
            <a:ext cx="1041718"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1"/>
                </a:solidFill>
                <a:latin typeface="GT Walsheim LC Light" pitchFamily="2" charset="0"/>
                <a:cs typeface="GT Walsheim LC Light" pitchFamily="2" charset="0"/>
              </a:rPr>
              <a:t>April 2025</a:t>
            </a:r>
          </a:p>
          <a:p>
            <a:pPr marL="0" indent="0">
              <a:buNone/>
            </a:pPr>
            <a:r>
              <a:rPr lang="en-US" sz="900" b="0" i="0">
                <a:effectLst/>
                <a:latin typeface="GT Walsheim LC Light" pitchFamily="2" charset="0"/>
                <a:cs typeface="GT Walsheim LC Light" pitchFamily="2" charset="0"/>
              </a:rPr>
              <a:t>Good Roads – HEWSF + Hydro and Highway access</a:t>
            </a:r>
          </a:p>
        </p:txBody>
      </p:sp>
      <p:sp>
        <p:nvSpPr>
          <p:cNvPr id="15" name="TextBox 14">
            <a:extLst>
              <a:ext uri="{FF2B5EF4-FFF2-40B4-BE49-F238E27FC236}">
                <a16:creationId xmlns:a16="http://schemas.microsoft.com/office/drawing/2014/main" id="{4B3C4D21-FCBF-154E-31C9-B765E44AF4CB}"/>
              </a:ext>
            </a:extLst>
          </p:cNvPr>
          <p:cNvSpPr txBox="1"/>
          <p:nvPr/>
        </p:nvSpPr>
        <p:spPr>
          <a:xfrm>
            <a:off x="380999" y="4792225"/>
            <a:ext cx="8382001" cy="738664"/>
          </a:xfrm>
          <a:prstGeom prst="rect">
            <a:avLst/>
          </a:prstGeom>
          <a:noFill/>
        </p:spPr>
        <p:txBody>
          <a:bodyPr wrap="square">
            <a:spAutoFit/>
          </a:bodyPr>
          <a:lstStyle/>
          <a:p>
            <a:pPr marL="0" indent="0" algn="ctr">
              <a:buFont typeface="Arial" panose="020B0604020202020204" pitchFamily="34" charset="0"/>
              <a:buNone/>
            </a:pPr>
            <a:r>
              <a:rPr lang="en-US" sz="1400">
                <a:solidFill>
                  <a:schemeClr val="bg1"/>
                </a:solidFill>
                <a:latin typeface="GT Walsheim LC Bold" pitchFamily="2" charset="0"/>
                <a:cs typeface="GT Walsheim LC Bold" pitchFamily="2" charset="0"/>
              </a:rPr>
              <a:t>The project team’s goal is to establish the viability of a GBE structure for this investment prior to construction commencing. Over the course of the coming months the project team will provide regular updates to city council regarding the project's status</a:t>
            </a:r>
          </a:p>
        </p:txBody>
      </p:sp>
      <p:sp>
        <p:nvSpPr>
          <p:cNvPr id="8" name="Text Placeholder 1">
            <a:extLst>
              <a:ext uri="{FF2B5EF4-FFF2-40B4-BE49-F238E27FC236}">
                <a16:creationId xmlns:a16="http://schemas.microsoft.com/office/drawing/2014/main" id="{8E84AEBC-646F-1FFB-0974-AC6A5CC24D6B}"/>
              </a:ext>
            </a:extLst>
          </p:cNvPr>
          <p:cNvSpPr txBox="1">
            <a:spLocks/>
          </p:cNvSpPr>
          <p:nvPr/>
        </p:nvSpPr>
        <p:spPr>
          <a:xfrm>
            <a:off x="760180" y="3896553"/>
            <a:ext cx="1030520"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1"/>
                </a:solidFill>
                <a:latin typeface="GT Walsheim LC Light" pitchFamily="2" charset="0"/>
                <a:cs typeface="GT Walsheim LC Light" pitchFamily="2" charset="0"/>
              </a:rPr>
              <a:t>August 2025</a:t>
            </a:r>
          </a:p>
          <a:p>
            <a:pPr marL="0" indent="0">
              <a:buNone/>
            </a:pPr>
            <a:r>
              <a:rPr lang="en-US" sz="900" b="0" i="0">
                <a:effectLst/>
                <a:latin typeface="GT Walsheim LC Light" pitchFamily="2" charset="0"/>
                <a:cs typeface="GT Walsheim LC Light" pitchFamily="2" charset="0"/>
              </a:rPr>
              <a:t>Provincial HEWSF $11.3 million ($15 million projects)</a:t>
            </a:r>
          </a:p>
          <a:p>
            <a:pPr marL="0" indent="0">
              <a:buNone/>
            </a:pPr>
            <a:endParaRPr lang="en-US" sz="900" b="0" i="0">
              <a:effectLst/>
              <a:latin typeface="GT Walsheim LC Light" pitchFamily="2" charset="0"/>
              <a:cs typeface="GT Walsheim LC Light" pitchFamily="2" charset="0"/>
            </a:endParaRPr>
          </a:p>
        </p:txBody>
      </p:sp>
      <p:cxnSp>
        <p:nvCxnSpPr>
          <p:cNvPr id="12" name="Straight Connector 11">
            <a:extLst>
              <a:ext uri="{FF2B5EF4-FFF2-40B4-BE49-F238E27FC236}">
                <a16:creationId xmlns:a16="http://schemas.microsoft.com/office/drawing/2014/main" id="{E5AFD1B1-F1DA-DA34-A5FC-F3EF698B77EE}"/>
              </a:ext>
            </a:extLst>
          </p:cNvPr>
          <p:cNvCxnSpPr>
            <a:cxnSpLocks/>
          </p:cNvCxnSpPr>
          <p:nvPr/>
        </p:nvCxnSpPr>
        <p:spPr>
          <a:xfrm>
            <a:off x="759654" y="3708390"/>
            <a:ext cx="8229600" cy="38621"/>
          </a:xfrm>
          <a:prstGeom prst="line">
            <a:avLst/>
          </a:prstGeom>
          <a:ln w="38100"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6D8A78-CFFF-EC19-59EA-C1C1AFE41395}"/>
              </a:ext>
            </a:extLst>
          </p:cNvPr>
          <p:cNvCxnSpPr>
            <a:cxnSpLocks/>
          </p:cNvCxnSpPr>
          <p:nvPr/>
        </p:nvCxnSpPr>
        <p:spPr>
          <a:xfrm>
            <a:off x="536524" y="3894245"/>
            <a:ext cx="0" cy="1737360"/>
          </a:xfrm>
          <a:prstGeom prst="line">
            <a:avLst/>
          </a:prstGeom>
          <a:ln w="1270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19" name="Oval 18">
            <a:extLst>
              <a:ext uri="{FF2B5EF4-FFF2-40B4-BE49-F238E27FC236}">
                <a16:creationId xmlns:a16="http://schemas.microsoft.com/office/drawing/2014/main" id="{EF3B7736-7E83-88C9-3D11-5AE4490F3FAD}"/>
              </a:ext>
            </a:extLst>
          </p:cNvPr>
          <p:cNvSpPr/>
          <p:nvPr/>
        </p:nvSpPr>
        <p:spPr>
          <a:xfrm flipV="1">
            <a:off x="359361" y="3528390"/>
            <a:ext cx="360000" cy="360000"/>
          </a:xfrm>
          <a:prstGeom prst="ellipse">
            <a:avLst/>
          </a:prstGeom>
          <a:solidFill>
            <a:schemeClr val="accent1">
              <a:lumMod val="20000"/>
              <a:lumOff val="80000"/>
            </a:schemeClr>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20" name="Text Placeholder 1">
            <a:extLst>
              <a:ext uri="{FF2B5EF4-FFF2-40B4-BE49-F238E27FC236}">
                <a16:creationId xmlns:a16="http://schemas.microsoft.com/office/drawing/2014/main" id="{F442D4B3-6572-8031-AD82-0C242C8337F3}"/>
              </a:ext>
            </a:extLst>
          </p:cNvPr>
          <p:cNvSpPr txBox="1">
            <a:spLocks/>
          </p:cNvSpPr>
          <p:nvPr/>
        </p:nvSpPr>
        <p:spPr>
          <a:xfrm>
            <a:off x="2216447" y="3896553"/>
            <a:ext cx="1064477"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3"/>
                </a:solidFill>
                <a:latin typeface="GT Walsheim LC Light" pitchFamily="2" charset="0"/>
                <a:cs typeface="GT Walsheim LC Light" pitchFamily="2" charset="0"/>
              </a:rPr>
              <a:t>September 2025</a:t>
            </a:r>
          </a:p>
          <a:p>
            <a:pPr marL="0" indent="0">
              <a:buNone/>
            </a:pPr>
            <a:r>
              <a:rPr lang="en-US" sz="900" b="0" i="0">
                <a:effectLst/>
                <a:latin typeface="GT Walsheim LC Light" pitchFamily="2" charset="0"/>
                <a:cs typeface="GT Walsheim LC Light" pitchFamily="2" charset="0"/>
              </a:rPr>
              <a:t>$4 million extension of Early Works Agreement with Peters Construction Group</a:t>
            </a:r>
          </a:p>
          <a:p>
            <a:pPr marL="0" indent="0">
              <a:buNone/>
            </a:pPr>
            <a:endParaRPr lang="en-US" sz="900" b="0" i="0">
              <a:effectLst/>
              <a:latin typeface="GT Walsheim LC Light" pitchFamily="2" charset="0"/>
              <a:cs typeface="GT Walsheim LC Light" pitchFamily="2" charset="0"/>
            </a:endParaRPr>
          </a:p>
        </p:txBody>
      </p:sp>
      <p:cxnSp>
        <p:nvCxnSpPr>
          <p:cNvPr id="21" name="Straight Connector 20">
            <a:extLst>
              <a:ext uri="{FF2B5EF4-FFF2-40B4-BE49-F238E27FC236}">
                <a16:creationId xmlns:a16="http://schemas.microsoft.com/office/drawing/2014/main" id="{F8388674-134E-3EB8-CB8D-C44989310AD1}"/>
              </a:ext>
            </a:extLst>
          </p:cNvPr>
          <p:cNvCxnSpPr>
            <a:cxnSpLocks/>
          </p:cNvCxnSpPr>
          <p:nvPr/>
        </p:nvCxnSpPr>
        <p:spPr>
          <a:xfrm>
            <a:off x="2036447" y="3894245"/>
            <a:ext cx="0" cy="1737360"/>
          </a:xfrm>
          <a:prstGeom prst="line">
            <a:avLst/>
          </a:prstGeom>
          <a:ln w="1270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D7E40B6E-624C-F567-9402-3F75EB6E54C6}"/>
              </a:ext>
            </a:extLst>
          </p:cNvPr>
          <p:cNvSpPr/>
          <p:nvPr/>
        </p:nvSpPr>
        <p:spPr>
          <a:xfrm>
            <a:off x="1856447" y="3543903"/>
            <a:ext cx="360000" cy="360000"/>
          </a:xfrm>
          <a:prstGeom prst="ellipse">
            <a:avLst/>
          </a:prstGeom>
          <a:solidFill>
            <a:schemeClr val="accent3">
              <a:lumMod val="20000"/>
              <a:lumOff val="80000"/>
            </a:schemeClr>
          </a:solidFill>
          <a:ln w="508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23" name="Text Placeholder 1">
            <a:extLst>
              <a:ext uri="{FF2B5EF4-FFF2-40B4-BE49-F238E27FC236}">
                <a16:creationId xmlns:a16="http://schemas.microsoft.com/office/drawing/2014/main" id="{23D3EFB8-9B64-37EF-237B-2B33FA0868FF}"/>
              </a:ext>
            </a:extLst>
          </p:cNvPr>
          <p:cNvSpPr txBox="1">
            <a:spLocks/>
          </p:cNvSpPr>
          <p:nvPr/>
        </p:nvSpPr>
        <p:spPr>
          <a:xfrm>
            <a:off x="3670064" y="3896553"/>
            <a:ext cx="1041718"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spcAft>
                <a:spcPts val="0"/>
              </a:spcAft>
              <a:buFont typeface="Arial" panose="020B0604020202020204" pitchFamily="34" charset="0"/>
              <a:buNone/>
            </a:pPr>
            <a:r>
              <a:rPr lang="en-US" sz="1400" b="1">
                <a:solidFill>
                  <a:schemeClr val="accent1"/>
                </a:solidFill>
                <a:latin typeface="GT Walsheim LC Light" pitchFamily="2" charset="0"/>
                <a:cs typeface="GT Walsheim LC Light" pitchFamily="2" charset="0"/>
              </a:rPr>
              <a:t>October 2025</a:t>
            </a:r>
          </a:p>
          <a:p>
            <a:pPr marL="0" indent="0">
              <a:spcBef>
                <a:spcPts val="450"/>
              </a:spcBef>
              <a:buNone/>
            </a:pPr>
            <a:r>
              <a:rPr lang="en-CA" sz="900" b="0" i="0">
                <a:effectLst/>
                <a:latin typeface="GT Walsheim LC Light" pitchFamily="2" charset="0"/>
                <a:cs typeface="GT Walsheim LC Light" pitchFamily="2" charset="0"/>
              </a:rPr>
              <a:t>Council Approval</a:t>
            </a:r>
            <a:endParaRPr lang="en-CA" sz="900">
              <a:latin typeface="GT Walsheim LC Light" pitchFamily="2" charset="0"/>
              <a:cs typeface="GT Walsheim LC Light" pitchFamily="2" charset="0"/>
            </a:endParaRPr>
          </a:p>
        </p:txBody>
      </p:sp>
      <p:cxnSp>
        <p:nvCxnSpPr>
          <p:cNvPr id="24" name="Straight Connector 23">
            <a:extLst>
              <a:ext uri="{FF2B5EF4-FFF2-40B4-BE49-F238E27FC236}">
                <a16:creationId xmlns:a16="http://schemas.microsoft.com/office/drawing/2014/main" id="{6CBAA2B0-28AB-DF65-6641-F44BED004F19}"/>
              </a:ext>
            </a:extLst>
          </p:cNvPr>
          <p:cNvCxnSpPr>
            <a:cxnSpLocks/>
          </p:cNvCxnSpPr>
          <p:nvPr/>
        </p:nvCxnSpPr>
        <p:spPr>
          <a:xfrm>
            <a:off x="3480202" y="3894245"/>
            <a:ext cx="0" cy="1737360"/>
          </a:xfrm>
          <a:prstGeom prst="line">
            <a:avLst/>
          </a:prstGeom>
          <a:ln w="1270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26" name="Oval 25">
            <a:extLst>
              <a:ext uri="{FF2B5EF4-FFF2-40B4-BE49-F238E27FC236}">
                <a16:creationId xmlns:a16="http://schemas.microsoft.com/office/drawing/2014/main" id="{9F8F53C9-50CD-8008-BD9F-262D46ED30F8}"/>
              </a:ext>
            </a:extLst>
          </p:cNvPr>
          <p:cNvSpPr/>
          <p:nvPr/>
        </p:nvSpPr>
        <p:spPr>
          <a:xfrm>
            <a:off x="3300202" y="3554272"/>
            <a:ext cx="360000" cy="360000"/>
          </a:xfrm>
          <a:prstGeom prst="ellipse">
            <a:avLst/>
          </a:prstGeom>
          <a:solidFill>
            <a:schemeClr val="accent1">
              <a:lumMod val="20000"/>
              <a:lumOff val="80000"/>
            </a:schemeClr>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27" name="Text Placeholder 1">
            <a:extLst>
              <a:ext uri="{FF2B5EF4-FFF2-40B4-BE49-F238E27FC236}">
                <a16:creationId xmlns:a16="http://schemas.microsoft.com/office/drawing/2014/main" id="{31A45454-0BD2-61AB-08BB-1823AD0CA48D}"/>
              </a:ext>
            </a:extLst>
          </p:cNvPr>
          <p:cNvSpPr txBox="1">
            <a:spLocks/>
          </p:cNvSpPr>
          <p:nvPr/>
        </p:nvSpPr>
        <p:spPr>
          <a:xfrm>
            <a:off x="5113995" y="3896553"/>
            <a:ext cx="1185564"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3"/>
                </a:solidFill>
                <a:latin typeface="GT Walsheim LC Light" pitchFamily="2" charset="0"/>
                <a:cs typeface="GT Walsheim LC Light" pitchFamily="2" charset="0"/>
              </a:rPr>
              <a:t>November 2025 (Est.)</a:t>
            </a:r>
          </a:p>
          <a:p>
            <a:pPr marL="0" indent="0">
              <a:buNone/>
            </a:pPr>
            <a:r>
              <a:rPr lang="en-US" sz="900" b="0" i="0">
                <a:effectLst/>
                <a:latin typeface="GT Walsheim LC Light" pitchFamily="2" charset="0"/>
                <a:cs typeface="GT Walsheim LC Light" pitchFamily="2" charset="0"/>
              </a:rPr>
              <a:t>Water and Wastewater District GBE established.</a:t>
            </a:r>
          </a:p>
          <a:p>
            <a:pPr marL="0" indent="0">
              <a:buNone/>
            </a:pPr>
            <a:r>
              <a:rPr lang="en-US" sz="900" b="0" i="0">
                <a:effectLst/>
                <a:latin typeface="GT Walsheim LC Light" pitchFamily="2" charset="0"/>
                <a:cs typeface="GT Walsheim LC Light" pitchFamily="2" charset="0"/>
              </a:rPr>
              <a:t>Interim project financing to Council for approval</a:t>
            </a:r>
          </a:p>
        </p:txBody>
      </p:sp>
      <p:cxnSp>
        <p:nvCxnSpPr>
          <p:cNvPr id="28" name="Straight Connector 27">
            <a:extLst>
              <a:ext uri="{FF2B5EF4-FFF2-40B4-BE49-F238E27FC236}">
                <a16:creationId xmlns:a16="http://schemas.microsoft.com/office/drawing/2014/main" id="{06116486-77A7-54E2-C9B6-837689028E48}"/>
              </a:ext>
            </a:extLst>
          </p:cNvPr>
          <p:cNvCxnSpPr>
            <a:cxnSpLocks/>
          </p:cNvCxnSpPr>
          <p:nvPr/>
        </p:nvCxnSpPr>
        <p:spPr>
          <a:xfrm>
            <a:off x="4930476" y="3894245"/>
            <a:ext cx="0" cy="1737360"/>
          </a:xfrm>
          <a:prstGeom prst="line">
            <a:avLst/>
          </a:prstGeom>
          <a:ln w="1270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0925C83C-E560-CF46-965A-5B539C1AEF55}"/>
              </a:ext>
            </a:extLst>
          </p:cNvPr>
          <p:cNvSpPr/>
          <p:nvPr/>
        </p:nvSpPr>
        <p:spPr>
          <a:xfrm>
            <a:off x="4750476" y="3554272"/>
            <a:ext cx="360000" cy="360000"/>
          </a:xfrm>
          <a:prstGeom prst="ellipse">
            <a:avLst/>
          </a:prstGeom>
          <a:solidFill>
            <a:schemeClr val="accent3">
              <a:lumMod val="20000"/>
              <a:lumOff val="80000"/>
            </a:schemeClr>
          </a:solidFill>
          <a:ln w="508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cxnSp>
        <p:nvCxnSpPr>
          <p:cNvPr id="30" name="Straight Connector 29">
            <a:extLst>
              <a:ext uri="{FF2B5EF4-FFF2-40B4-BE49-F238E27FC236}">
                <a16:creationId xmlns:a16="http://schemas.microsoft.com/office/drawing/2014/main" id="{F10F9A89-B866-FFA7-CE28-7201AC60E38C}"/>
              </a:ext>
            </a:extLst>
          </p:cNvPr>
          <p:cNvCxnSpPr>
            <a:cxnSpLocks/>
          </p:cNvCxnSpPr>
          <p:nvPr/>
        </p:nvCxnSpPr>
        <p:spPr>
          <a:xfrm flipH="1">
            <a:off x="6374408" y="3894245"/>
            <a:ext cx="6342" cy="1737360"/>
          </a:xfrm>
          <a:prstGeom prst="line">
            <a:avLst/>
          </a:prstGeom>
          <a:ln w="1270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31" name="Oval 30">
            <a:extLst>
              <a:ext uri="{FF2B5EF4-FFF2-40B4-BE49-F238E27FC236}">
                <a16:creationId xmlns:a16="http://schemas.microsoft.com/office/drawing/2014/main" id="{02E681A7-934F-ADB6-436D-9F50A4842BB8}"/>
              </a:ext>
            </a:extLst>
          </p:cNvPr>
          <p:cNvSpPr/>
          <p:nvPr/>
        </p:nvSpPr>
        <p:spPr>
          <a:xfrm>
            <a:off x="6200750" y="3554272"/>
            <a:ext cx="360000" cy="360000"/>
          </a:xfrm>
          <a:prstGeom prst="ellipse">
            <a:avLst/>
          </a:prstGeom>
          <a:solidFill>
            <a:schemeClr val="accent1">
              <a:lumMod val="20000"/>
              <a:lumOff val="80000"/>
            </a:schemeClr>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35" name="Text Placeholder 1">
            <a:extLst>
              <a:ext uri="{FF2B5EF4-FFF2-40B4-BE49-F238E27FC236}">
                <a16:creationId xmlns:a16="http://schemas.microsoft.com/office/drawing/2014/main" id="{15E3837B-8E14-7955-4F03-DA35A239E022}"/>
              </a:ext>
            </a:extLst>
          </p:cNvPr>
          <p:cNvSpPr txBox="1">
            <a:spLocks/>
          </p:cNvSpPr>
          <p:nvPr/>
        </p:nvSpPr>
        <p:spPr>
          <a:xfrm>
            <a:off x="6544432" y="3896553"/>
            <a:ext cx="2056702" cy="1548851"/>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buFont typeface="Arial" panose="020B0604020202020204" pitchFamily="34" charset="0"/>
              <a:buNone/>
            </a:pPr>
            <a:r>
              <a:rPr lang="en-US" sz="1400" b="1">
                <a:solidFill>
                  <a:schemeClr val="accent1"/>
                </a:solidFill>
                <a:latin typeface="GT Walsheim LC Light" pitchFamily="2" charset="0"/>
                <a:cs typeface="GT Walsheim LC Light" pitchFamily="2" charset="0"/>
              </a:rPr>
              <a:t>January 2026 → December 2027 (Est.)</a:t>
            </a:r>
          </a:p>
          <a:p>
            <a:pPr marL="0" indent="0">
              <a:buNone/>
            </a:pPr>
            <a:r>
              <a:rPr lang="en-US" sz="900" b="0" i="0">
                <a:effectLst/>
                <a:latin typeface="GT Walsheim LC Light" pitchFamily="2" charset="0"/>
                <a:cs typeface="GT Walsheim LC Light" pitchFamily="2" charset="0"/>
              </a:rPr>
              <a:t>Water available at AK site (April 1, 2026) </a:t>
            </a:r>
          </a:p>
          <a:p>
            <a:pPr marL="0" indent="0">
              <a:buNone/>
            </a:pPr>
            <a:r>
              <a:rPr lang="en-US" sz="900" b="0" i="0">
                <a:effectLst/>
                <a:latin typeface="GT Walsheim LC Light" pitchFamily="2" charset="0"/>
                <a:cs typeface="GT Walsheim LC Light" pitchFamily="2" charset="0"/>
              </a:rPr>
              <a:t>Signed wastewater pumping station construction agreement</a:t>
            </a:r>
          </a:p>
          <a:p>
            <a:pPr marL="0" indent="0">
              <a:buNone/>
            </a:pPr>
            <a:r>
              <a:rPr lang="en-US" sz="900" b="0" i="0">
                <a:effectLst/>
                <a:latin typeface="GT Walsheim LC Light" pitchFamily="2" charset="0"/>
                <a:cs typeface="GT Walsheim LC Light" pitchFamily="2" charset="0"/>
              </a:rPr>
              <a:t>Wastewater available at AK site (September 30, 2027*)</a:t>
            </a:r>
          </a:p>
          <a:p>
            <a:pPr marL="0" indent="0">
              <a:buNone/>
            </a:pPr>
            <a:r>
              <a:rPr lang="en-US" sz="900" b="0" i="0">
                <a:effectLst/>
                <a:latin typeface="GT Walsheim LC Light" pitchFamily="2" charset="0"/>
                <a:cs typeface="GT Walsheim LC Light" pitchFamily="2" charset="0"/>
              </a:rPr>
              <a:t>Financing Completed</a:t>
            </a:r>
          </a:p>
          <a:p>
            <a:pPr marL="0" indent="0">
              <a:buNone/>
            </a:pPr>
            <a:r>
              <a:rPr lang="en-US" sz="900" b="0" i="0">
                <a:effectLst/>
                <a:latin typeface="GT Walsheim LC Light" pitchFamily="2" charset="0"/>
                <a:cs typeface="GT Walsheim LC Light" pitchFamily="2" charset="0"/>
              </a:rPr>
              <a:t>GBE “Stand-alone”</a:t>
            </a:r>
          </a:p>
        </p:txBody>
      </p:sp>
      <p:sp>
        <p:nvSpPr>
          <p:cNvPr id="62" name="Freeform: Shape 61">
            <a:extLst>
              <a:ext uri="{FF2B5EF4-FFF2-40B4-BE49-F238E27FC236}">
                <a16:creationId xmlns:a16="http://schemas.microsoft.com/office/drawing/2014/main" id="{F47FB76B-4175-0809-491B-1AC5FD5269BF}"/>
              </a:ext>
            </a:extLst>
          </p:cNvPr>
          <p:cNvSpPr/>
          <p:nvPr/>
        </p:nvSpPr>
        <p:spPr>
          <a:xfrm>
            <a:off x="8428008" y="2993366"/>
            <a:ext cx="629887" cy="2820838"/>
          </a:xfrm>
          <a:custGeom>
            <a:avLst/>
            <a:gdLst>
              <a:gd name="connsiteX0" fmla="*/ 0 w 629887"/>
              <a:gd name="connsiteY0" fmla="*/ 0 h 2820838"/>
              <a:gd name="connsiteX1" fmla="*/ 629728 w 629887"/>
              <a:gd name="connsiteY1" fmla="*/ 1337094 h 2820838"/>
              <a:gd name="connsiteX2" fmla="*/ 51758 w 629887"/>
              <a:gd name="connsiteY2" fmla="*/ 2820838 h 2820838"/>
            </a:gdLst>
            <a:ahLst/>
            <a:cxnLst>
              <a:cxn ang="0">
                <a:pos x="connsiteX0" y="connsiteY0"/>
              </a:cxn>
              <a:cxn ang="0">
                <a:pos x="connsiteX1" y="connsiteY1"/>
              </a:cxn>
              <a:cxn ang="0">
                <a:pos x="connsiteX2" y="connsiteY2"/>
              </a:cxn>
            </a:cxnLst>
            <a:rect l="l" t="t" r="r" b="b"/>
            <a:pathLst>
              <a:path w="629887" h="2820838">
                <a:moveTo>
                  <a:pt x="0" y="0"/>
                </a:moveTo>
                <a:cubicBezTo>
                  <a:pt x="310551" y="433477"/>
                  <a:pt x="621102" y="866954"/>
                  <a:pt x="629728" y="1337094"/>
                </a:cubicBezTo>
                <a:cubicBezTo>
                  <a:pt x="638354" y="1807234"/>
                  <a:pt x="294735" y="2667000"/>
                  <a:pt x="51758" y="2820838"/>
                </a:cubicBez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3" name="Straight Connector 62">
            <a:extLst>
              <a:ext uri="{FF2B5EF4-FFF2-40B4-BE49-F238E27FC236}">
                <a16:creationId xmlns:a16="http://schemas.microsoft.com/office/drawing/2014/main" id="{9499052B-1090-C49A-21F5-A5B3555C9FF0}"/>
              </a:ext>
            </a:extLst>
          </p:cNvPr>
          <p:cNvCxnSpPr>
            <a:cxnSpLocks/>
          </p:cNvCxnSpPr>
          <p:nvPr/>
        </p:nvCxnSpPr>
        <p:spPr>
          <a:xfrm>
            <a:off x="759654" y="1089969"/>
            <a:ext cx="8229600" cy="38621"/>
          </a:xfrm>
          <a:prstGeom prst="line">
            <a:avLst/>
          </a:prstGeom>
          <a:ln w="38100"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12BC74C0-4348-BAC6-1BD6-35BA9AE8C6EC}"/>
              </a:ext>
            </a:extLst>
          </p:cNvPr>
          <p:cNvCxnSpPr>
            <a:cxnSpLocks/>
          </p:cNvCxnSpPr>
          <p:nvPr/>
        </p:nvCxnSpPr>
        <p:spPr>
          <a:xfrm>
            <a:off x="536524" y="1275824"/>
            <a:ext cx="0" cy="1737360"/>
          </a:xfrm>
          <a:prstGeom prst="line">
            <a:avLst/>
          </a:prstGeom>
          <a:ln w="1270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65" name="Oval 64">
            <a:extLst>
              <a:ext uri="{FF2B5EF4-FFF2-40B4-BE49-F238E27FC236}">
                <a16:creationId xmlns:a16="http://schemas.microsoft.com/office/drawing/2014/main" id="{06E223B8-A529-2E41-E942-56080470283A}"/>
              </a:ext>
            </a:extLst>
          </p:cNvPr>
          <p:cNvSpPr/>
          <p:nvPr/>
        </p:nvSpPr>
        <p:spPr>
          <a:xfrm flipV="1">
            <a:off x="359361" y="909969"/>
            <a:ext cx="360000" cy="360000"/>
          </a:xfrm>
          <a:prstGeom prst="ellipse">
            <a:avLst/>
          </a:prstGeom>
          <a:solidFill>
            <a:schemeClr val="accent1">
              <a:lumMod val="20000"/>
              <a:lumOff val="80000"/>
            </a:schemeClr>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cxnSp>
        <p:nvCxnSpPr>
          <p:cNvPr id="66" name="Straight Connector 65">
            <a:extLst>
              <a:ext uri="{FF2B5EF4-FFF2-40B4-BE49-F238E27FC236}">
                <a16:creationId xmlns:a16="http://schemas.microsoft.com/office/drawing/2014/main" id="{4C1A6E82-CEB8-261E-2446-DD62552CDD4C}"/>
              </a:ext>
            </a:extLst>
          </p:cNvPr>
          <p:cNvCxnSpPr>
            <a:cxnSpLocks/>
          </p:cNvCxnSpPr>
          <p:nvPr/>
        </p:nvCxnSpPr>
        <p:spPr>
          <a:xfrm>
            <a:off x="2036447" y="1275824"/>
            <a:ext cx="0" cy="1737360"/>
          </a:xfrm>
          <a:prstGeom prst="line">
            <a:avLst/>
          </a:prstGeom>
          <a:ln w="1270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67" name="Oval 66">
            <a:extLst>
              <a:ext uri="{FF2B5EF4-FFF2-40B4-BE49-F238E27FC236}">
                <a16:creationId xmlns:a16="http://schemas.microsoft.com/office/drawing/2014/main" id="{A0E9C05F-C8E5-E79B-E50C-ACEBC9E29586}"/>
              </a:ext>
            </a:extLst>
          </p:cNvPr>
          <p:cNvSpPr/>
          <p:nvPr/>
        </p:nvSpPr>
        <p:spPr>
          <a:xfrm>
            <a:off x="1856447" y="925482"/>
            <a:ext cx="360000" cy="360000"/>
          </a:xfrm>
          <a:prstGeom prst="ellipse">
            <a:avLst/>
          </a:prstGeom>
          <a:solidFill>
            <a:schemeClr val="accent3">
              <a:lumMod val="20000"/>
              <a:lumOff val="80000"/>
            </a:schemeClr>
          </a:solidFill>
          <a:ln w="508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cxnSp>
        <p:nvCxnSpPr>
          <p:cNvPr id="68" name="Straight Connector 67">
            <a:extLst>
              <a:ext uri="{FF2B5EF4-FFF2-40B4-BE49-F238E27FC236}">
                <a16:creationId xmlns:a16="http://schemas.microsoft.com/office/drawing/2014/main" id="{BB310CD4-7ACE-0281-285D-27DF179B9A01}"/>
              </a:ext>
            </a:extLst>
          </p:cNvPr>
          <p:cNvCxnSpPr>
            <a:cxnSpLocks/>
          </p:cNvCxnSpPr>
          <p:nvPr/>
        </p:nvCxnSpPr>
        <p:spPr>
          <a:xfrm>
            <a:off x="3480202" y="1275824"/>
            <a:ext cx="0" cy="1737360"/>
          </a:xfrm>
          <a:prstGeom prst="line">
            <a:avLst/>
          </a:prstGeom>
          <a:ln w="1270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69" name="Oval 68">
            <a:extLst>
              <a:ext uri="{FF2B5EF4-FFF2-40B4-BE49-F238E27FC236}">
                <a16:creationId xmlns:a16="http://schemas.microsoft.com/office/drawing/2014/main" id="{1DC22095-D296-1F23-4E18-8B2A6C0DFB97}"/>
              </a:ext>
            </a:extLst>
          </p:cNvPr>
          <p:cNvSpPr/>
          <p:nvPr/>
        </p:nvSpPr>
        <p:spPr>
          <a:xfrm>
            <a:off x="3300202" y="935851"/>
            <a:ext cx="360000" cy="360000"/>
          </a:xfrm>
          <a:prstGeom prst="ellipse">
            <a:avLst/>
          </a:prstGeom>
          <a:solidFill>
            <a:schemeClr val="accent1">
              <a:lumMod val="20000"/>
              <a:lumOff val="80000"/>
            </a:schemeClr>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cxnSp>
        <p:nvCxnSpPr>
          <p:cNvPr id="70" name="Straight Connector 69">
            <a:extLst>
              <a:ext uri="{FF2B5EF4-FFF2-40B4-BE49-F238E27FC236}">
                <a16:creationId xmlns:a16="http://schemas.microsoft.com/office/drawing/2014/main" id="{D111A0BF-BF69-993D-D0D4-365F92F040CD}"/>
              </a:ext>
            </a:extLst>
          </p:cNvPr>
          <p:cNvCxnSpPr>
            <a:cxnSpLocks/>
          </p:cNvCxnSpPr>
          <p:nvPr/>
        </p:nvCxnSpPr>
        <p:spPr>
          <a:xfrm>
            <a:off x="4930476" y="1275824"/>
            <a:ext cx="0" cy="1737360"/>
          </a:xfrm>
          <a:prstGeom prst="line">
            <a:avLst/>
          </a:prstGeom>
          <a:ln w="1270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71" name="Oval 70">
            <a:extLst>
              <a:ext uri="{FF2B5EF4-FFF2-40B4-BE49-F238E27FC236}">
                <a16:creationId xmlns:a16="http://schemas.microsoft.com/office/drawing/2014/main" id="{55634B79-83F6-C5B3-89BE-1EBA2FC636AB}"/>
              </a:ext>
            </a:extLst>
          </p:cNvPr>
          <p:cNvSpPr/>
          <p:nvPr/>
        </p:nvSpPr>
        <p:spPr>
          <a:xfrm>
            <a:off x="4750476" y="935851"/>
            <a:ext cx="360000" cy="360000"/>
          </a:xfrm>
          <a:prstGeom prst="ellipse">
            <a:avLst/>
          </a:prstGeom>
          <a:solidFill>
            <a:schemeClr val="accent3">
              <a:lumMod val="20000"/>
              <a:lumOff val="80000"/>
            </a:schemeClr>
          </a:solidFill>
          <a:ln w="508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cxnSp>
        <p:nvCxnSpPr>
          <p:cNvPr id="72" name="Straight Connector 71">
            <a:extLst>
              <a:ext uri="{FF2B5EF4-FFF2-40B4-BE49-F238E27FC236}">
                <a16:creationId xmlns:a16="http://schemas.microsoft.com/office/drawing/2014/main" id="{7ED80367-4F5F-C49A-8585-6E2E557CC7B5}"/>
              </a:ext>
            </a:extLst>
          </p:cNvPr>
          <p:cNvCxnSpPr>
            <a:cxnSpLocks/>
          </p:cNvCxnSpPr>
          <p:nvPr/>
        </p:nvCxnSpPr>
        <p:spPr>
          <a:xfrm flipH="1">
            <a:off x="6374408" y="1275824"/>
            <a:ext cx="6342" cy="1737360"/>
          </a:xfrm>
          <a:prstGeom prst="line">
            <a:avLst/>
          </a:prstGeom>
          <a:ln w="1270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73" name="Oval 72">
            <a:extLst>
              <a:ext uri="{FF2B5EF4-FFF2-40B4-BE49-F238E27FC236}">
                <a16:creationId xmlns:a16="http://schemas.microsoft.com/office/drawing/2014/main" id="{BD89C9A7-92E5-775B-83D1-101EBA4ED834}"/>
              </a:ext>
            </a:extLst>
          </p:cNvPr>
          <p:cNvSpPr/>
          <p:nvPr/>
        </p:nvSpPr>
        <p:spPr>
          <a:xfrm>
            <a:off x="6200750" y="935851"/>
            <a:ext cx="360000" cy="360000"/>
          </a:xfrm>
          <a:prstGeom prst="ellipse">
            <a:avLst/>
          </a:prstGeom>
          <a:solidFill>
            <a:schemeClr val="accent1">
              <a:lumMod val="20000"/>
              <a:lumOff val="80000"/>
            </a:schemeClr>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cxnSp>
        <p:nvCxnSpPr>
          <p:cNvPr id="74" name="Straight Connector 73">
            <a:extLst>
              <a:ext uri="{FF2B5EF4-FFF2-40B4-BE49-F238E27FC236}">
                <a16:creationId xmlns:a16="http://schemas.microsoft.com/office/drawing/2014/main" id="{81C39BC2-A986-0FD4-BB08-89EB5E4F5FFC}"/>
              </a:ext>
            </a:extLst>
          </p:cNvPr>
          <p:cNvCxnSpPr>
            <a:cxnSpLocks/>
          </p:cNvCxnSpPr>
          <p:nvPr/>
        </p:nvCxnSpPr>
        <p:spPr>
          <a:xfrm flipH="1">
            <a:off x="7824681" y="1275824"/>
            <a:ext cx="6343" cy="1737360"/>
          </a:xfrm>
          <a:prstGeom prst="line">
            <a:avLst/>
          </a:prstGeom>
          <a:ln w="1270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75" name="Oval 74">
            <a:extLst>
              <a:ext uri="{FF2B5EF4-FFF2-40B4-BE49-F238E27FC236}">
                <a16:creationId xmlns:a16="http://schemas.microsoft.com/office/drawing/2014/main" id="{D5D175F4-780B-A8F9-A728-BB6747B20013}"/>
              </a:ext>
            </a:extLst>
          </p:cNvPr>
          <p:cNvSpPr/>
          <p:nvPr/>
        </p:nvSpPr>
        <p:spPr>
          <a:xfrm>
            <a:off x="7651024" y="935851"/>
            <a:ext cx="360000" cy="360000"/>
          </a:xfrm>
          <a:prstGeom prst="ellipse">
            <a:avLst/>
          </a:prstGeom>
          <a:solidFill>
            <a:schemeClr val="accent3">
              <a:lumMod val="20000"/>
              <a:lumOff val="80000"/>
            </a:schemeClr>
          </a:solidFill>
          <a:ln w="508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pic>
        <p:nvPicPr>
          <p:cNvPr id="76" name="Picture 75">
            <a:extLst>
              <a:ext uri="{FF2B5EF4-FFF2-40B4-BE49-F238E27FC236}">
                <a16:creationId xmlns:a16="http://schemas.microsoft.com/office/drawing/2014/main" id="{F5289F55-B1C7-5A56-872A-F4C371C3F8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3" name="Footer Placeholder 5">
            <a:extLst>
              <a:ext uri="{FF2B5EF4-FFF2-40B4-BE49-F238E27FC236}">
                <a16:creationId xmlns:a16="http://schemas.microsoft.com/office/drawing/2014/main" id="{49D41BB9-26DD-C6FA-6745-A08ABC5B8A37}"/>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2021177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BB183-8858-1A21-5799-3A8AE529F8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DECC9D-1AD8-65D9-6B18-A16C240D5D14}"/>
              </a:ext>
            </a:extLst>
          </p:cNvPr>
          <p:cNvSpPr>
            <a:spLocks noGrp="1"/>
          </p:cNvSpPr>
          <p:nvPr>
            <p:ph type="title"/>
          </p:nvPr>
        </p:nvSpPr>
        <p:spPr>
          <a:xfrm>
            <a:off x="1094185" y="2924178"/>
            <a:ext cx="4625128" cy="694870"/>
          </a:xfrm>
        </p:spPr>
        <p:txBody>
          <a:bodyPr/>
          <a:lstStyle/>
          <a:p>
            <a:r>
              <a:rPr lang="en-US"/>
              <a:t>Public Value &amp; Engagement</a:t>
            </a:r>
          </a:p>
        </p:txBody>
      </p:sp>
      <p:sp>
        <p:nvSpPr>
          <p:cNvPr id="5" name="Slide Number Placeholder 4">
            <a:extLst>
              <a:ext uri="{FF2B5EF4-FFF2-40B4-BE49-F238E27FC236}">
                <a16:creationId xmlns:a16="http://schemas.microsoft.com/office/drawing/2014/main" id="{BD2CFAD6-D622-49CC-57ED-298BD29E290B}"/>
              </a:ext>
            </a:extLst>
          </p:cNvPr>
          <p:cNvSpPr>
            <a:spLocks noGrp="1"/>
          </p:cNvSpPr>
          <p:nvPr>
            <p:ph type="sldNum" sz="quarter" idx="4"/>
          </p:nvPr>
        </p:nvSpPr>
        <p:spPr/>
        <p:txBody>
          <a:bodyPr/>
          <a:lstStyle/>
          <a:p>
            <a:fld id="{1AB31D9B-80B6-41F8-B283-556E26E6158E}" type="slidenum">
              <a:rPr lang="en-GB" smtClean="0"/>
              <a:pPr/>
              <a:t>25</a:t>
            </a:fld>
            <a:endParaRPr lang="en-GB"/>
          </a:p>
        </p:txBody>
      </p:sp>
      <p:sp>
        <p:nvSpPr>
          <p:cNvPr id="3" name="Footer Placeholder 5">
            <a:extLst>
              <a:ext uri="{FF2B5EF4-FFF2-40B4-BE49-F238E27FC236}">
                <a16:creationId xmlns:a16="http://schemas.microsoft.com/office/drawing/2014/main" id="{216BBEE2-4855-ACB6-B1A1-D03D5282008F}"/>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4925456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49CC2-27B9-858A-B289-C39392FAFEEE}"/>
              </a:ext>
            </a:extLst>
          </p:cNvPr>
          <p:cNvSpPr>
            <a:spLocks noGrp="1"/>
          </p:cNvSpPr>
          <p:nvPr>
            <p:ph type="title"/>
          </p:nvPr>
        </p:nvSpPr>
        <p:spPr/>
        <p:txBody>
          <a:bodyPr/>
          <a:lstStyle/>
          <a:p>
            <a:r>
              <a:rPr lang="en-US"/>
              <a:t>Public Interest Considerations</a:t>
            </a:r>
          </a:p>
        </p:txBody>
      </p:sp>
      <p:sp>
        <p:nvSpPr>
          <p:cNvPr id="4" name="Slide Number Placeholder 3">
            <a:extLst>
              <a:ext uri="{FF2B5EF4-FFF2-40B4-BE49-F238E27FC236}">
                <a16:creationId xmlns:a16="http://schemas.microsoft.com/office/drawing/2014/main" id="{47DFB312-3BCA-A347-89E9-C69DEA5008A6}"/>
              </a:ext>
            </a:extLst>
          </p:cNvPr>
          <p:cNvSpPr>
            <a:spLocks noGrp="1"/>
          </p:cNvSpPr>
          <p:nvPr>
            <p:ph type="sldNum" sz="quarter" idx="4"/>
          </p:nvPr>
        </p:nvSpPr>
        <p:spPr/>
        <p:txBody>
          <a:bodyPr/>
          <a:lstStyle/>
          <a:p>
            <a:fld id="{1AB31D9B-80B6-41F8-B283-556E26E6158E}" type="slidenum">
              <a:rPr lang="en-GB" smtClean="0"/>
              <a:pPr/>
              <a:t>26</a:t>
            </a:fld>
            <a:endParaRPr lang="en-GB"/>
          </a:p>
        </p:txBody>
      </p:sp>
      <p:sp>
        <p:nvSpPr>
          <p:cNvPr id="6" name="TextBox 5">
            <a:extLst>
              <a:ext uri="{FF2B5EF4-FFF2-40B4-BE49-F238E27FC236}">
                <a16:creationId xmlns:a16="http://schemas.microsoft.com/office/drawing/2014/main" id="{5580CD8C-1B6B-1472-44ED-775AA1678134}"/>
              </a:ext>
            </a:extLst>
          </p:cNvPr>
          <p:cNvSpPr txBox="1"/>
          <p:nvPr/>
        </p:nvSpPr>
        <p:spPr>
          <a:xfrm>
            <a:off x="381000" y="877387"/>
            <a:ext cx="8331679" cy="5432256"/>
          </a:xfrm>
          <a:prstGeom prst="rect">
            <a:avLst/>
          </a:prstGeom>
          <a:noFill/>
        </p:spPr>
        <p:txBody>
          <a:bodyPr wrap="square">
            <a:spAutoFit/>
          </a:bodyPr>
          <a:lstStyle/>
          <a:p>
            <a:r>
              <a:rPr lang="en-US" sz="1400" dirty="0">
                <a:latin typeface="GT Walsheim LC Light" pitchFamily="2" charset="0"/>
                <a:cs typeface="GT Walsheim LC Light" pitchFamily="2" charset="0"/>
              </a:rPr>
              <a:t>The servicing project delivers significant public value across social, economic, environmental, and financial dimensions, while ensuring long-term sustainability and regulatory compliance.</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Social &amp; Economic Impact</a:t>
            </a:r>
            <a:r>
              <a:rPr lang="en-US" sz="1400" dirty="0">
                <a:latin typeface="GT Walsheim LC Light" pitchFamily="2" charset="0"/>
                <a:cs typeface="GT Walsheim LC Light" pitchFamily="2" charset="0"/>
              </a:rPr>
              <a:t>: By enabling the development of the ESEL, the project supports job creation, industrial expansion, and regional investment. The AK Battery Separator Plant serves as a catalyst for growth, attracting additional users and positioning Port Colborne as a hub for advanced manufacturing. This unlocks new employment opportunities, strengthens the local economy, and aligns with the City’s Global Business Enablement strategy.</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Environmental Stewardship: </a:t>
            </a:r>
            <a:r>
              <a:rPr lang="en-US" sz="1400" dirty="0">
                <a:latin typeface="GT Walsheim LC Light" pitchFamily="2" charset="0"/>
                <a:cs typeface="GT Walsheim LC Light" pitchFamily="2" charset="0"/>
              </a:rPr>
              <a:t>The infrastructure plan has been designed in coordination with environmental reviews and geotechnical investigations to ensure responsible land use and minimal ecological disruption. Integration with The Niagara Region’s systems ensures that water and wastewater services meet provincial standards for treatment and sustainability.</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Financial Sustainability: </a:t>
            </a:r>
            <a:r>
              <a:rPr lang="en-US" sz="1400" dirty="0">
                <a:latin typeface="GT Walsheim LC Light" pitchFamily="2" charset="0"/>
                <a:cs typeface="GT Walsheim LC Light" pitchFamily="2" charset="0"/>
              </a:rPr>
              <a:t>The project leverages a MSC to finance infrastructure independently of the City’s balance sheet, preserving municipal borrowing capacity. Long-term service agreements with AK and future users ensure predictable revenue to cover capital and operating costs, supporting financial resilience and lender confidence.</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Rate Stabilization: </a:t>
            </a:r>
            <a:r>
              <a:rPr lang="en-US" sz="1400" dirty="0">
                <a:latin typeface="GT Walsheim LC Light" pitchFamily="2" charset="0"/>
                <a:cs typeface="GT Walsheim LC Light" pitchFamily="2" charset="0"/>
              </a:rPr>
              <a:t>The project provides an opportunity to re-establish water and wastewater rates based on actual servicing costs and long-term financial modeling. This ensures fairness, transparency, and affordability for all users within the new water district, while supporting the financial resilience of the system.</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Industrial Expansion: </a:t>
            </a:r>
            <a:r>
              <a:rPr lang="en-US" sz="1400" dirty="0">
                <a:latin typeface="GT Walsheim LC Light" pitchFamily="2" charset="0"/>
                <a:cs typeface="GT Walsheim LC Light" pitchFamily="2" charset="0"/>
              </a:rPr>
              <a:t>The infrastructure investment lays the groundwork for expanding the industrial park beyond AK, creating a scalable platform for future development. This supports the City’s strategic goals and enhances its competitiveness in attracting high-value employers with access to multi-modal transportation options including highway, canal, and rail.</a:t>
            </a:r>
          </a:p>
        </p:txBody>
      </p:sp>
      <p:pic>
        <p:nvPicPr>
          <p:cNvPr id="5" name="Picture 4">
            <a:extLst>
              <a:ext uri="{FF2B5EF4-FFF2-40B4-BE49-F238E27FC236}">
                <a16:creationId xmlns:a16="http://schemas.microsoft.com/office/drawing/2014/main" id="{E6C785D0-5D99-EF2A-64D1-2C68D51C75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B32E7D2D-EBAB-4CCD-F65F-3D595EE8E225}"/>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10257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F5571-F472-CEFA-5A89-3908500FB840}"/>
              </a:ext>
            </a:extLst>
          </p:cNvPr>
          <p:cNvSpPr>
            <a:spLocks noGrp="1"/>
          </p:cNvSpPr>
          <p:nvPr>
            <p:ph type="title"/>
          </p:nvPr>
        </p:nvSpPr>
        <p:spPr>
          <a:xfrm>
            <a:off x="381005" y="508005"/>
            <a:ext cx="8381995" cy="346249"/>
          </a:xfrm>
        </p:spPr>
        <p:txBody>
          <a:bodyPr/>
          <a:lstStyle/>
          <a:p>
            <a:r>
              <a:rPr lang="en-US"/>
              <a:t>Key stakeholders' considerations</a:t>
            </a:r>
            <a:endParaRPr lang="en-CA"/>
          </a:p>
        </p:txBody>
      </p:sp>
      <p:sp>
        <p:nvSpPr>
          <p:cNvPr id="4" name="Slide Number Placeholder 3">
            <a:extLst>
              <a:ext uri="{FF2B5EF4-FFF2-40B4-BE49-F238E27FC236}">
                <a16:creationId xmlns:a16="http://schemas.microsoft.com/office/drawing/2014/main" id="{1F6ABF63-BD4B-3026-AF94-AE07CD6BD40A}"/>
              </a:ext>
            </a:extLst>
          </p:cNvPr>
          <p:cNvSpPr>
            <a:spLocks noGrp="1"/>
          </p:cNvSpPr>
          <p:nvPr>
            <p:ph type="sldNum" sz="quarter" idx="4"/>
          </p:nvPr>
        </p:nvSpPr>
        <p:spPr/>
        <p:txBody>
          <a:bodyPr/>
          <a:lstStyle/>
          <a:p>
            <a:fld id="{1AB31D9B-80B6-41F8-B283-556E26E6158E}" type="slidenum">
              <a:rPr lang="en-GB" smtClean="0"/>
              <a:pPr/>
              <a:t>27</a:t>
            </a:fld>
            <a:endParaRPr lang="en-GB"/>
          </a:p>
        </p:txBody>
      </p:sp>
      <p:graphicFrame>
        <p:nvGraphicFramePr>
          <p:cNvPr id="6" name="Table 18">
            <a:extLst>
              <a:ext uri="{FF2B5EF4-FFF2-40B4-BE49-F238E27FC236}">
                <a16:creationId xmlns:a16="http://schemas.microsoft.com/office/drawing/2014/main" id="{EE1BAED1-C723-8A8C-44CA-239303C825FF}"/>
              </a:ext>
            </a:extLst>
          </p:cNvPr>
          <p:cNvGraphicFramePr>
            <a:graphicFrameLocks noGrp="1"/>
          </p:cNvGraphicFramePr>
          <p:nvPr>
            <p:extLst>
              <p:ext uri="{D42A27DB-BD31-4B8C-83A1-F6EECF244321}">
                <p14:modId xmlns:p14="http://schemas.microsoft.com/office/powerpoint/2010/main" val="2541390919"/>
              </p:ext>
            </p:extLst>
          </p:nvPr>
        </p:nvGraphicFramePr>
        <p:xfrm>
          <a:off x="381000" y="1045881"/>
          <a:ext cx="8381994" cy="5112276"/>
        </p:xfrm>
        <a:graphic>
          <a:graphicData uri="http://schemas.openxmlformats.org/drawingml/2006/table">
            <a:tbl>
              <a:tblPr firstRow="1" bandRow="1">
                <a:tableStyleId>{79A5969B-65F0-4F1C-96AB-84BB84F7BFFD}</a:tableStyleId>
              </a:tblPr>
              <a:tblGrid>
                <a:gridCol w="1730142">
                  <a:extLst>
                    <a:ext uri="{9D8B030D-6E8A-4147-A177-3AD203B41FA5}">
                      <a16:colId xmlns:a16="http://schemas.microsoft.com/office/drawing/2014/main" val="2057833202"/>
                    </a:ext>
                  </a:extLst>
                </a:gridCol>
                <a:gridCol w="6651852">
                  <a:extLst>
                    <a:ext uri="{9D8B030D-6E8A-4147-A177-3AD203B41FA5}">
                      <a16:colId xmlns:a16="http://schemas.microsoft.com/office/drawing/2014/main" val="747796651"/>
                    </a:ext>
                  </a:extLst>
                </a:gridCol>
              </a:tblGrid>
              <a:tr h="540276">
                <a:tc>
                  <a:txBody>
                    <a:bodyPr/>
                    <a:lstStyle/>
                    <a:p>
                      <a:r>
                        <a:rPr lang="en-CA" sz="1200" dirty="0">
                          <a:solidFill>
                            <a:schemeClr val="bg1"/>
                          </a:solidFill>
                          <a:latin typeface="GT Walsheim LC Bold" pitchFamily="2" charset="0"/>
                          <a:cs typeface="GT Walsheim LC Bold" pitchFamily="2" charset="0"/>
                        </a:rPr>
                        <a:t>Stakeholder</a:t>
                      </a:r>
                    </a:p>
                  </a:txBody>
                  <a:tcPr anchor="ctr">
                    <a:lnL w="0" cmpd="sng">
                      <a:noFill/>
                    </a:lnL>
                    <a:lnR w="0" cmpd="sng">
                      <a:noFill/>
                    </a:lnR>
                    <a:lnT w="12700" cmpd="sng">
                      <a:noFill/>
                    </a:lnT>
                    <a:lnB w="12700" cmpd="sng" algn="ctr">
                      <a:noFill/>
                    </a:lnB>
                    <a:lnTlToBr w="12700" cmpd="sng">
                      <a:noFill/>
                      <a:prstDash val="solid"/>
                    </a:lnTlToBr>
                    <a:lnBlToTr w="12700" cmpd="sng">
                      <a:noFill/>
                      <a:prstDash val="solid"/>
                    </a:lnBlToTr>
                    <a:solidFill>
                      <a:schemeClr val="accent1"/>
                    </a:solidFill>
                  </a:tcPr>
                </a:tc>
                <a:tc>
                  <a:txBody>
                    <a:bodyPr/>
                    <a:lstStyle/>
                    <a:p>
                      <a:pPr algn="l"/>
                      <a:r>
                        <a:rPr lang="en-US" sz="1200" b="0">
                          <a:solidFill>
                            <a:schemeClr val="bg1"/>
                          </a:solidFill>
                          <a:latin typeface="GT Walsheim LC Bold" pitchFamily="2" charset="0"/>
                          <a:cs typeface="GT Walsheim LC Bold" pitchFamily="2" charset="0"/>
                        </a:rPr>
                        <a:t>Considerations</a:t>
                      </a:r>
                      <a:endParaRPr lang="en-CA" sz="1200" b="0">
                        <a:solidFill>
                          <a:schemeClr val="bg1"/>
                        </a:solidFill>
                        <a:latin typeface="GT Walsheim LC Bold" pitchFamily="2" charset="0"/>
                        <a:cs typeface="GT Walsheim LC Bold" pitchFamily="2" charset="0"/>
                      </a:endParaRPr>
                    </a:p>
                  </a:txBody>
                  <a:tcPr anchor="ctr">
                    <a:lnL w="0" cmpd="sng">
                      <a:noFill/>
                    </a:lnL>
                    <a:lnR w="0" cmpd="sng">
                      <a:noFill/>
                    </a:lnR>
                    <a:lnT w="12700" cmpd="sng">
                      <a:noFill/>
                    </a:lnT>
                    <a:lnB w="12700" cmpd="sng" algn="ctr">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089723586"/>
                  </a:ext>
                </a:extLst>
              </a:tr>
              <a:tr h="640080">
                <a:tc>
                  <a:txBody>
                    <a:bodyPr/>
                    <a:lstStyle/>
                    <a:p>
                      <a:pPr>
                        <a:buNone/>
                      </a:pPr>
                      <a:r>
                        <a:rPr lang="en-US" sz="1400" b="1">
                          <a:solidFill>
                            <a:schemeClr val="accent1"/>
                          </a:solidFill>
                          <a:latin typeface="GT Walsheim LC Light" pitchFamily="2" charset="0"/>
                          <a:cs typeface="GT Walsheim LC Light" pitchFamily="2" charset="0"/>
                        </a:rPr>
                        <a:t>City of Port Colborne</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12700" cmpd="sng" algn="ctr">
                      <a:noFill/>
                    </a:lnT>
                    <a:lnB w="3175" cmpd="sng">
                      <a:noFill/>
                    </a:lnB>
                    <a:lnTlToBr w="12700" cmpd="sng">
                      <a:noFill/>
                      <a:prstDash val="solid"/>
                    </a:lnTlToBr>
                    <a:lnBlToTr w="12700" cmpd="sng">
                      <a:noFill/>
                      <a:prstDash val="solid"/>
                    </a:lnBlToTr>
                  </a:tcPr>
                </a:tc>
                <a:tc>
                  <a:txBody>
                    <a:bodyPr/>
                    <a:lstStyle/>
                    <a:p>
                      <a:pPr>
                        <a:buNone/>
                      </a:pPr>
                      <a:r>
                        <a:rPr lang="en-US" sz="1400">
                          <a:latin typeface="GT Walsheim LC Light" pitchFamily="2" charset="0"/>
                          <a:cs typeface="GT Walsheim LC Light" pitchFamily="2" charset="0"/>
                        </a:rPr>
                        <a:t>Leads project coordination, governance, and oversight through its internal team and Council. Initiates agreements and establishes the MSC structure.</a:t>
                      </a:r>
                    </a:p>
                  </a:txBody>
                  <a:tcPr anchor="ctr">
                    <a:lnL w="0" cmpd="sng">
                      <a:noFill/>
                    </a:lnL>
                    <a:lnR w="0" cmpd="sng">
                      <a:noFill/>
                    </a:lnR>
                    <a:lnT w="12700" cmpd="sng" algn="ctr">
                      <a:noFill/>
                    </a:lnT>
                    <a:lnB w="3175" cmpd="sng">
                      <a:noFill/>
                    </a:lnB>
                    <a:lnTlToBr w="12700" cmpd="sng">
                      <a:noFill/>
                      <a:prstDash val="solid"/>
                    </a:lnTlToBr>
                    <a:lnBlToTr w="12700" cmpd="sng">
                      <a:noFill/>
                      <a:prstDash val="solid"/>
                    </a:lnBlToTr>
                  </a:tcPr>
                </a:tc>
                <a:extLst>
                  <a:ext uri="{0D108BD9-81ED-4DB2-BD59-A6C34878D82A}">
                    <a16:rowId xmlns:a16="http://schemas.microsoft.com/office/drawing/2014/main" val="3903566439"/>
                  </a:ext>
                </a:extLst>
              </a:tr>
              <a:tr h="640080">
                <a:tc>
                  <a:txBody>
                    <a:bodyPr/>
                    <a:lstStyle/>
                    <a:p>
                      <a:pPr>
                        <a:buNone/>
                      </a:pPr>
                      <a:r>
                        <a:rPr lang="en-US" sz="1400" b="1">
                          <a:solidFill>
                            <a:schemeClr val="accent1"/>
                          </a:solidFill>
                          <a:latin typeface="GT Walsheim LC Light" pitchFamily="2" charset="0"/>
                          <a:cs typeface="GT Walsheim LC Light" pitchFamily="2" charset="0"/>
                        </a:rPr>
                        <a:t>Niagara Region</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3175" cmpd="sng">
                      <a:noFill/>
                    </a:lnT>
                    <a:lnB w="3175" cmpd="sng">
                      <a:noFill/>
                    </a:lnB>
                    <a:lnTlToBr w="12700" cmpd="sng">
                      <a:noFill/>
                      <a:prstDash val="solid"/>
                    </a:lnTlToBr>
                    <a:lnBlToTr w="12700" cmpd="sng">
                      <a:noFill/>
                      <a:prstDash val="solid"/>
                    </a:lnBlToTr>
                    <a:solidFill>
                      <a:schemeClr val="tx2">
                        <a:lumMod val="40000"/>
                        <a:lumOff val="60000"/>
                      </a:schemeClr>
                    </a:solidFill>
                  </a:tcPr>
                </a:tc>
                <a:tc>
                  <a:txBody>
                    <a:bodyPr/>
                    <a:lstStyle/>
                    <a:p>
                      <a:pPr>
                        <a:buNone/>
                      </a:pPr>
                      <a:r>
                        <a:rPr lang="en-US" sz="1400" dirty="0">
                          <a:latin typeface="GT Walsheim LC Light" pitchFamily="2" charset="0"/>
                          <a:cs typeface="GT Walsheim LC Light" pitchFamily="2" charset="0"/>
                        </a:rPr>
                        <a:t>Partner in infrastructure delivery, especially for the </a:t>
                      </a:r>
                      <a:r>
                        <a:rPr lang="en-US" sz="1400" dirty="0" err="1">
                          <a:latin typeface="GT Walsheim LC Light" pitchFamily="2" charset="0"/>
                          <a:cs typeface="GT Walsheim LC Light" pitchFamily="2" charset="0"/>
                        </a:rPr>
                        <a:t>Welland</a:t>
                      </a:r>
                      <a:r>
                        <a:rPr lang="en-US" sz="1400" dirty="0">
                          <a:latin typeface="GT Walsheim LC Light" pitchFamily="2" charset="0"/>
                          <a:cs typeface="GT Walsheim LC Light" pitchFamily="2" charset="0"/>
                        </a:rPr>
                        <a:t> Canal crossing and wastewater systems. Will assume ownership and operational responsibility for key assets post-construction.</a:t>
                      </a:r>
                    </a:p>
                  </a:txBody>
                  <a:tcPr anchor="ctr">
                    <a:lnL w="0" cmpd="sng">
                      <a:noFill/>
                    </a:lnL>
                    <a:lnR w="0" cmpd="sng">
                      <a:noFill/>
                    </a:lnR>
                    <a:lnT w="3175" cmpd="sng">
                      <a:noFill/>
                    </a:lnT>
                    <a:lnB w="3175" cmpd="sng">
                      <a:noFill/>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2840537397"/>
                  </a:ext>
                </a:extLst>
              </a:tr>
              <a:tr h="640080">
                <a:tc>
                  <a:txBody>
                    <a:bodyPr/>
                    <a:lstStyle/>
                    <a:p>
                      <a:pPr>
                        <a:buNone/>
                      </a:pPr>
                      <a:r>
                        <a:rPr lang="en-US" sz="1400" b="1">
                          <a:solidFill>
                            <a:schemeClr val="accent1"/>
                          </a:solidFill>
                          <a:latin typeface="GT Walsheim LC Light" pitchFamily="2" charset="0"/>
                          <a:cs typeface="GT Walsheim LC Light" pitchFamily="2" charset="0"/>
                        </a:rPr>
                        <a:t>Asahi Kasei</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3175" cmpd="sng">
                      <a:noFill/>
                    </a:lnT>
                    <a:lnB w="3175" cmpd="sng">
                      <a:noFill/>
                    </a:lnB>
                    <a:lnTlToBr w="12700" cmpd="sng">
                      <a:noFill/>
                      <a:prstDash val="solid"/>
                    </a:lnTlToBr>
                    <a:lnBlToTr w="12700" cmpd="sng">
                      <a:noFill/>
                      <a:prstDash val="solid"/>
                    </a:lnBlToTr>
                  </a:tcPr>
                </a:tc>
                <a:tc>
                  <a:txBody>
                    <a:bodyPr/>
                    <a:lstStyle/>
                    <a:p>
                      <a:pPr>
                        <a:buNone/>
                      </a:pPr>
                      <a:r>
                        <a:rPr lang="en-US" sz="1400">
                          <a:latin typeface="GT Walsheim LC Light" pitchFamily="2" charset="0"/>
                          <a:cs typeface="GT Walsheim LC Light" pitchFamily="2" charset="0"/>
                        </a:rPr>
                        <a:t>Anchor industrial tenant whose development timeline drives infrastructure delivery. Financial contributor through long-term service agreements.</a:t>
                      </a:r>
                    </a:p>
                  </a:txBody>
                  <a:tcPr anchor="ctr">
                    <a:lnL w="0" cmpd="sng">
                      <a:noFill/>
                    </a:lnL>
                    <a:lnR w="0" cmpd="sng">
                      <a:noFill/>
                    </a:lnR>
                    <a:lnT w="3175" cmpd="sng">
                      <a:noFill/>
                    </a:lnT>
                    <a:lnB w="3175" cmpd="sng">
                      <a:noFill/>
                    </a:lnB>
                    <a:lnTlToBr w="12700" cmpd="sng">
                      <a:noFill/>
                      <a:prstDash val="solid"/>
                    </a:lnTlToBr>
                    <a:lnBlToTr w="12700" cmpd="sng">
                      <a:noFill/>
                      <a:prstDash val="solid"/>
                    </a:lnBlToTr>
                  </a:tcPr>
                </a:tc>
                <a:extLst>
                  <a:ext uri="{0D108BD9-81ED-4DB2-BD59-A6C34878D82A}">
                    <a16:rowId xmlns:a16="http://schemas.microsoft.com/office/drawing/2014/main" val="1214665000"/>
                  </a:ext>
                </a:extLst>
              </a:tr>
              <a:tr h="640080">
                <a:tc>
                  <a:txBody>
                    <a:bodyPr/>
                    <a:lstStyle/>
                    <a:p>
                      <a:pPr>
                        <a:buNone/>
                      </a:pPr>
                      <a:r>
                        <a:rPr lang="en-US" sz="1400" b="1">
                          <a:solidFill>
                            <a:schemeClr val="accent1"/>
                          </a:solidFill>
                          <a:latin typeface="GT Walsheim LC Light" pitchFamily="2" charset="0"/>
                          <a:cs typeface="GT Walsheim LC Light" pitchFamily="2" charset="0"/>
                        </a:rPr>
                        <a:t>One Forty Developments</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3175" cmpd="sng">
                      <a:noFill/>
                    </a:lnT>
                    <a:lnB w="3175" cmpd="sng">
                      <a:noFill/>
                    </a:lnB>
                    <a:lnTlToBr w="12700" cmpd="sng">
                      <a:noFill/>
                      <a:prstDash val="solid"/>
                    </a:lnTlToBr>
                    <a:lnBlToTr w="12700" cmpd="sng">
                      <a:noFill/>
                      <a:prstDash val="solid"/>
                    </a:lnBlToTr>
                    <a:solidFill>
                      <a:schemeClr val="tx2">
                        <a:lumMod val="40000"/>
                        <a:lumOff val="60000"/>
                      </a:schemeClr>
                    </a:solidFill>
                  </a:tcPr>
                </a:tc>
                <a:tc>
                  <a:txBody>
                    <a:bodyPr/>
                    <a:lstStyle/>
                    <a:p>
                      <a:pPr>
                        <a:buNone/>
                      </a:pPr>
                      <a:r>
                        <a:rPr lang="en-US" sz="1400" dirty="0">
                          <a:latin typeface="GT Walsheim LC Light" pitchFamily="2" charset="0"/>
                          <a:cs typeface="GT Walsheim LC Light" pitchFamily="2" charset="0"/>
                        </a:rPr>
                        <a:t>Constructs infrastructure from the City’s connection point to the AK’s site, at their own cost and to City specifications.</a:t>
                      </a:r>
                    </a:p>
                  </a:txBody>
                  <a:tcPr anchor="ctr">
                    <a:lnL w="0" cmpd="sng">
                      <a:noFill/>
                    </a:lnL>
                    <a:lnR w="0" cmpd="sng">
                      <a:noFill/>
                    </a:lnR>
                    <a:lnT w="3175" cmpd="sng">
                      <a:noFill/>
                    </a:lnT>
                    <a:lnB w="3175" cmpd="sng">
                      <a:noFill/>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1341600439"/>
                  </a:ext>
                </a:extLst>
              </a:tr>
              <a:tr h="640080">
                <a:tc>
                  <a:txBody>
                    <a:bodyPr/>
                    <a:lstStyle/>
                    <a:p>
                      <a:pPr>
                        <a:buNone/>
                      </a:pPr>
                      <a:r>
                        <a:rPr lang="en-US" sz="1400" b="1">
                          <a:solidFill>
                            <a:schemeClr val="accent1"/>
                          </a:solidFill>
                          <a:latin typeface="GT Walsheim LC Light" pitchFamily="2" charset="0"/>
                          <a:cs typeface="GT Walsheim LC Light" pitchFamily="2" charset="0"/>
                        </a:rPr>
                        <a:t>Contractors (e.g., Peters Excavating)</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3175" cmpd="sng">
                      <a:noFill/>
                    </a:lnT>
                    <a:lnB w="3175" cmpd="sng">
                      <a:noFill/>
                    </a:lnB>
                    <a:lnTlToBr w="12700" cmpd="sng">
                      <a:noFill/>
                      <a:prstDash val="solid"/>
                    </a:lnTlToBr>
                    <a:lnBlToTr w="12700" cmpd="sng">
                      <a:noFill/>
                      <a:prstDash val="solid"/>
                    </a:lnBlToTr>
                  </a:tcPr>
                </a:tc>
                <a:tc>
                  <a:txBody>
                    <a:bodyPr/>
                    <a:lstStyle/>
                    <a:p>
                      <a:pPr>
                        <a:buNone/>
                      </a:pPr>
                      <a:r>
                        <a:rPr lang="en-US" sz="1400">
                          <a:latin typeface="GT Walsheim LC Light" pitchFamily="2" charset="0"/>
                          <a:cs typeface="GT Walsheim LC Light" pitchFamily="2" charset="0"/>
                        </a:rPr>
                        <a:t>Engaged to deliver linear infrastructure assets under approved construction agreements.</a:t>
                      </a:r>
                    </a:p>
                  </a:txBody>
                  <a:tcPr anchor="ctr">
                    <a:lnL w="0" cmpd="sng">
                      <a:noFill/>
                    </a:lnL>
                    <a:lnR w="0" cmpd="sng">
                      <a:noFill/>
                    </a:lnR>
                    <a:lnT w="3175" cmpd="sng">
                      <a:noFill/>
                    </a:lnT>
                    <a:lnB w="3175" cmpd="sng">
                      <a:noFill/>
                    </a:lnB>
                    <a:lnTlToBr w="12700" cmpd="sng">
                      <a:noFill/>
                      <a:prstDash val="solid"/>
                    </a:lnTlToBr>
                    <a:lnBlToTr w="12700" cmpd="sng">
                      <a:noFill/>
                      <a:prstDash val="solid"/>
                    </a:lnBlToTr>
                  </a:tcPr>
                </a:tc>
                <a:extLst>
                  <a:ext uri="{0D108BD9-81ED-4DB2-BD59-A6C34878D82A}">
                    <a16:rowId xmlns:a16="http://schemas.microsoft.com/office/drawing/2014/main" val="1380793945"/>
                  </a:ext>
                </a:extLst>
              </a:tr>
              <a:tr h="640080">
                <a:tc>
                  <a:txBody>
                    <a:bodyPr/>
                    <a:lstStyle/>
                    <a:p>
                      <a:pPr>
                        <a:buNone/>
                      </a:pPr>
                      <a:r>
                        <a:rPr lang="en-US" sz="1400" b="1">
                          <a:solidFill>
                            <a:schemeClr val="accent1"/>
                          </a:solidFill>
                          <a:latin typeface="GT Walsheim LC Light" pitchFamily="2" charset="0"/>
                          <a:cs typeface="GT Walsheim LC Light" pitchFamily="2" charset="0"/>
                        </a:rPr>
                        <a:t>City Solicitors &amp; Financial Advisors</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3175" cmpd="sng">
                      <a:noFill/>
                    </a:lnT>
                    <a:lnB w="3175" cmpd="sng">
                      <a:noFill/>
                    </a:lnB>
                    <a:lnTlToBr w="12700" cmpd="sng">
                      <a:noFill/>
                      <a:prstDash val="solid"/>
                    </a:lnTlToBr>
                    <a:lnBlToTr w="12700" cmpd="sng">
                      <a:noFill/>
                      <a:prstDash val="solid"/>
                    </a:lnBlToTr>
                    <a:solidFill>
                      <a:schemeClr val="tx2">
                        <a:lumMod val="40000"/>
                        <a:lumOff val="60000"/>
                      </a:schemeClr>
                    </a:solidFill>
                  </a:tcPr>
                </a:tc>
                <a:tc>
                  <a:txBody>
                    <a:bodyPr/>
                    <a:lstStyle/>
                    <a:p>
                      <a:pPr>
                        <a:buNone/>
                      </a:pPr>
                      <a:r>
                        <a:rPr lang="en-US" sz="1400">
                          <a:latin typeface="GT Walsheim LC Light" pitchFamily="2" charset="0"/>
                          <a:cs typeface="GT Walsheim LC Light" pitchFamily="2" charset="0"/>
                        </a:rPr>
                        <a:t>Provide legal and financial guidance on agreements, MSC structure, and financing strategies.</a:t>
                      </a:r>
                    </a:p>
                  </a:txBody>
                  <a:tcPr anchor="ctr">
                    <a:lnL w="0" cmpd="sng">
                      <a:noFill/>
                    </a:lnL>
                    <a:lnR w="0" cmpd="sng">
                      <a:noFill/>
                    </a:lnR>
                    <a:lnT w="3175" cmpd="sng">
                      <a:noFill/>
                    </a:lnT>
                    <a:lnB w="3175" cmpd="sng">
                      <a:noFill/>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3573560222"/>
                  </a:ext>
                </a:extLst>
              </a:tr>
              <a:tr h="640080">
                <a:tc>
                  <a:txBody>
                    <a:bodyPr/>
                    <a:lstStyle/>
                    <a:p>
                      <a:pPr>
                        <a:buNone/>
                      </a:pPr>
                      <a:r>
                        <a:rPr lang="en-US" sz="1400" b="1">
                          <a:solidFill>
                            <a:schemeClr val="accent1"/>
                          </a:solidFill>
                          <a:latin typeface="GT Walsheim LC Light" pitchFamily="2" charset="0"/>
                          <a:cs typeface="GT Walsheim LC Light" pitchFamily="2" charset="0"/>
                        </a:rPr>
                        <a:t>Community &amp; Public</a:t>
                      </a:r>
                      <a:endParaRPr lang="en-US" sz="1400">
                        <a:solidFill>
                          <a:schemeClr val="accent1"/>
                        </a:solidFill>
                        <a:latin typeface="GT Walsheim LC Light" pitchFamily="2" charset="0"/>
                        <a:cs typeface="GT Walsheim LC Light" pitchFamily="2" charset="0"/>
                      </a:endParaRPr>
                    </a:p>
                  </a:txBody>
                  <a:tcPr anchor="ctr">
                    <a:lnL w="0" cmpd="sng">
                      <a:noFill/>
                    </a:lnL>
                    <a:lnR w="0" cmpd="sng">
                      <a:noFill/>
                    </a:lnR>
                    <a:lnT w="3175"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US" sz="1400">
                          <a:latin typeface="GT Walsheim LC Light" pitchFamily="2" charset="0"/>
                          <a:cs typeface="GT Walsheim LC Light" pitchFamily="2" charset="0"/>
                        </a:rPr>
                        <a:t>Will be engaged through a formal public consultation process as required under the Municipal Act, including public reports and open house sessions.</a:t>
                      </a:r>
                    </a:p>
                  </a:txBody>
                  <a:tcPr anchor="ctr">
                    <a:lnL w="0" cmpd="sng">
                      <a:noFill/>
                    </a:lnL>
                    <a:lnR w="0" cmpd="sng">
                      <a:noFill/>
                    </a:lnR>
                    <a:lnT w="3175"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093643"/>
                  </a:ext>
                </a:extLst>
              </a:tr>
            </a:tbl>
          </a:graphicData>
        </a:graphic>
      </p:graphicFrame>
      <p:pic>
        <p:nvPicPr>
          <p:cNvPr id="5" name="Picture 4">
            <a:extLst>
              <a:ext uri="{FF2B5EF4-FFF2-40B4-BE49-F238E27FC236}">
                <a16:creationId xmlns:a16="http://schemas.microsoft.com/office/drawing/2014/main" id="{E7861477-E7FF-B84B-9883-8D27F68923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D8CA08BE-AAA0-DB22-D40D-285BD429A193}"/>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658923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26F48-C5C7-AD93-C193-FAB395EFBB27}"/>
              </a:ext>
            </a:extLst>
          </p:cNvPr>
          <p:cNvSpPr>
            <a:spLocks noGrp="1"/>
          </p:cNvSpPr>
          <p:nvPr>
            <p:ph type="title"/>
          </p:nvPr>
        </p:nvSpPr>
        <p:spPr/>
        <p:txBody>
          <a:bodyPr/>
          <a:lstStyle/>
          <a:p>
            <a:r>
              <a:rPr lang="en-US"/>
              <a:t>Stakeholder Consultation</a:t>
            </a:r>
          </a:p>
        </p:txBody>
      </p:sp>
      <p:sp>
        <p:nvSpPr>
          <p:cNvPr id="4" name="Slide Number Placeholder 3">
            <a:extLst>
              <a:ext uri="{FF2B5EF4-FFF2-40B4-BE49-F238E27FC236}">
                <a16:creationId xmlns:a16="http://schemas.microsoft.com/office/drawing/2014/main" id="{CB8597D7-0AA6-C640-40B6-CEB971D4FA71}"/>
              </a:ext>
            </a:extLst>
          </p:cNvPr>
          <p:cNvSpPr>
            <a:spLocks noGrp="1"/>
          </p:cNvSpPr>
          <p:nvPr>
            <p:ph type="sldNum" sz="quarter" idx="4"/>
          </p:nvPr>
        </p:nvSpPr>
        <p:spPr/>
        <p:txBody>
          <a:bodyPr/>
          <a:lstStyle/>
          <a:p>
            <a:fld id="{1AB31D9B-80B6-41F8-B283-556E26E6158E}" type="slidenum">
              <a:rPr lang="en-GB" smtClean="0"/>
              <a:pPr/>
              <a:t>28</a:t>
            </a:fld>
            <a:endParaRPr lang="en-GB"/>
          </a:p>
        </p:txBody>
      </p:sp>
      <p:sp>
        <p:nvSpPr>
          <p:cNvPr id="6" name="TextBox 5">
            <a:extLst>
              <a:ext uri="{FF2B5EF4-FFF2-40B4-BE49-F238E27FC236}">
                <a16:creationId xmlns:a16="http://schemas.microsoft.com/office/drawing/2014/main" id="{D1738C75-508D-76FB-098B-0385FCD90496}"/>
              </a:ext>
            </a:extLst>
          </p:cNvPr>
          <p:cNvSpPr txBox="1"/>
          <p:nvPr/>
        </p:nvSpPr>
        <p:spPr>
          <a:xfrm>
            <a:off x="381000" y="872967"/>
            <a:ext cx="8521460" cy="5432256"/>
          </a:xfrm>
          <a:prstGeom prst="rect">
            <a:avLst/>
          </a:prstGeom>
          <a:noFill/>
        </p:spPr>
        <p:txBody>
          <a:bodyPr wrap="square">
            <a:spAutoFit/>
          </a:bodyPr>
          <a:lstStyle/>
          <a:p>
            <a:r>
              <a:rPr lang="en-US" sz="1400" dirty="0">
                <a:latin typeface="GT Walsheim LC Light" pitchFamily="2" charset="0"/>
                <a:cs typeface="GT Walsheim LC Light" pitchFamily="2" charset="0"/>
              </a:rPr>
              <a:t>The servicing project has been guided by extensive consultation with public, private, and community stakeholders to ensure alignment with strategic priorities, regulatory requirements, and long-term infrastructure goals.</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Internal Collaboration: </a:t>
            </a:r>
            <a:r>
              <a:rPr lang="en-US" sz="1400" dirty="0">
                <a:latin typeface="GT Walsheim LC Light" pitchFamily="2" charset="0"/>
                <a:cs typeface="GT Walsheim LC Light" pitchFamily="2" charset="0"/>
              </a:rPr>
              <a:t>City staff—including the CAO, Director of Development and Government Relations, Director of Public Works, Manager of Special Projects, and Senior Project Manager—have worked closely to coordinate all aspects of the servicing project. This includes the development of water, legal, and financing agreements in collaboration with City Solicitors, strategic financial advisors, and lenders.</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Intergovernmental Engagement:</a:t>
            </a:r>
            <a:r>
              <a:rPr lang="en-US" sz="1400" dirty="0">
                <a:latin typeface="GT Walsheim LC Light" pitchFamily="2" charset="0"/>
                <a:cs typeface="GT Walsheim LC Light" pitchFamily="2" charset="0"/>
              </a:rPr>
              <a:t> The City has partnered with the Niagara Region to design and deliver shared infrastructure, including the </a:t>
            </a:r>
            <a:r>
              <a:rPr lang="en-US" sz="1400" dirty="0" err="1">
                <a:latin typeface="GT Walsheim LC Light" pitchFamily="2" charset="0"/>
                <a:cs typeface="GT Walsheim LC Light" pitchFamily="2" charset="0"/>
              </a:rPr>
              <a:t>Welland</a:t>
            </a:r>
            <a:r>
              <a:rPr lang="en-US" sz="1400" dirty="0">
                <a:latin typeface="GT Walsheim LC Light" pitchFamily="2" charset="0"/>
                <a:cs typeface="GT Walsheim LC Light" pitchFamily="2" charset="0"/>
              </a:rPr>
              <a:t> Canal tunnel crossing and wastewater pumping stations. These assets are being built to Niagara Region standards, with the Region expected to assume ownership and operational responsibility once construction is complete and conditions are met.</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Private Sector Coordination: </a:t>
            </a:r>
            <a:r>
              <a:rPr lang="en-US" sz="1400" dirty="0">
                <a:latin typeface="GT Walsheim LC Light" pitchFamily="2" charset="0"/>
                <a:cs typeface="GT Walsheim LC Light" pitchFamily="2" charset="0"/>
              </a:rPr>
              <a:t>The City has maintained active engagement with AK to align infrastructure delivery with their development timeline. Construction agreements are in place with Peters Excavating for linear asset installation, and One Forty Developments is responsible for infrastructure from the City’s connection point to the AK site.</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Legal and Financial Advisors: </a:t>
            </a:r>
            <a:r>
              <a:rPr lang="en-US" sz="1400" dirty="0">
                <a:latin typeface="GT Walsheim LC Light" pitchFamily="2" charset="0"/>
                <a:cs typeface="GT Walsheim LC Light" pitchFamily="2" charset="0"/>
              </a:rPr>
              <a:t>City staff have worked with legal counsel and strategic financial advisors to finalize the MSC structure and associated agreements.</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Public Engagement:</a:t>
            </a:r>
            <a:r>
              <a:rPr lang="en-US" sz="1400" dirty="0">
                <a:latin typeface="GT Walsheim LC Light" pitchFamily="2" charset="0"/>
                <a:cs typeface="GT Walsheim LC Light" pitchFamily="2" charset="0"/>
              </a:rPr>
              <a:t> In accordance with the Municipal Act, public engagement is required for the establishment of MSCs. The City will launch a public information campaign, including updates on its website and a public open house. Several reports have already been presented to Council (2023-109, 2024-47, 2024-221, 2025-28, and 2025-139), outlining the project’s scope and progress.</a:t>
            </a:r>
          </a:p>
        </p:txBody>
      </p:sp>
      <p:pic>
        <p:nvPicPr>
          <p:cNvPr id="5" name="Picture 4">
            <a:extLst>
              <a:ext uri="{FF2B5EF4-FFF2-40B4-BE49-F238E27FC236}">
                <a16:creationId xmlns:a16="http://schemas.microsoft.com/office/drawing/2014/main" id="{564C383F-926E-A8CC-7E12-A067E1592A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B7862A3C-9FF5-F4E3-4347-4C6E6669D469}"/>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6080036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4D9EA-4F88-E8B6-660E-201711C4D5EB}"/>
              </a:ext>
            </a:extLst>
          </p:cNvPr>
          <p:cNvSpPr>
            <a:spLocks noGrp="1"/>
          </p:cNvSpPr>
          <p:nvPr>
            <p:ph type="title"/>
          </p:nvPr>
        </p:nvSpPr>
        <p:spPr/>
        <p:txBody>
          <a:bodyPr/>
          <a:lstStyle/>
          <a:p>
            <a:r>
              <a:rPr lang="en-US"/>
              <a:t>Community Engagement Plan</a:t>
            </a:r>
          </a:p>
        </p:txBody>
      </p:sp>
      <p:sp>
        <p:nvSpPr>
          <p:cNvPr id="4" name="Slide Number Placeholder 3">
            <a:extLst>
              <a:ext uri="{FF2B5EF4-FFF2-40B4-BE49-F238E27FC236}">
                <a16:creationId xmlns:a16="http://schemas.microsoft.com/office/drawing/2014/main" id="{82FFFA76-83D4-826B-F3F2-F3249D84E38F}"/>
              </a:ext>
            </a:extLst>
          </p:cNvPr>
          <p:cNvSpPr>
            <a:spLocks noGrp="1"/>
          </p:cNvSpPr>
          <p:nvPr>
            <p:ph type="sldNum" sz="quarter" idx="4"/>
          </p:nvPr>
        </p:nvSpPr>
        <p:spPr/>
        <p:txBody>
          <a:bodyPr/>
          <a:lstStyle/>
          <a:p>
            <a:fld id="{1AB31D9B-80B6-41F8-B283-556E26E6158E}" type="slidenum">
              <a:rPr lang="en-GB" smtClean="0"/>
              <a:pPr/>
              <a:t>29</a:t>
            </a:fld>
            <a:endParaRPr lang="en-GB"/>
          </a:p>
        </p:txBody>
      </p:sp>
      <p:sp>
        <p:nvSpPr>
          <p:cNvPr id="11" name="TextBox 10">
            <a:extLst>
              <a:ext uri="{FF2B5EF4-FFF2-40B4-BE49-F238E27FC236}">
                <a16:creationId xmlns:a16="http://schemas.microsoft.com/office/drawing/2014/main" id="{4B1A63B7-B6DF-7AC9-4AA3-2C91EEF771B2}"/>
              </a:ext>
            </a:extLst>
          </p:cNvPr>
          <p:cNvSpPr txBox="1"/>
          <p:nvPr/>
        </p:nvSpPr>
        <p:spPr>
          <a:xfrm>
            <a:off x="381000" y="1071373"/>
            <a:ext cx="8521460" cy="4832092"/>
          </a:xfrm>
          <a:prstGeom prst="rect">
            <a:avLst/>
          </a:prstGeom>
          <a:noFill/>
        </p:spPr>
        <p:txBody>
          <a:bodyPr wrap="square">
            <a:spAutoFit/>
          </a:bodyPr>
          <a:lstStyle/>
          <a:p>
            <a:r>
              <a:rPr lang="en-US" sz="1400">
                <a:latin typeface="GT Walsheim LC Light" pitchFamily="2" charset="0"/>
                <a:cs typeface="GT Walsheim LC Light" pitchFamily="2" charset="0"/>
              </a:rPr>
              <a:t>The City of Port Colborne is required under the Municipal Act to conduct public consultation prior to establishing GBEs. This process ensures transparency, accountability, and alignment with public interest.</a:t>
            </a:r>
          </a:p>
          <a:p>
            <a:r>
              <a:rPr lang="en-US" sz="1400" b="1">
                <a:latin typeface="GT Walsheim LC Light" pitchFamily="2" charset="0"/>
                <a:cs typeface="GT Walsheim LC Light" pitchFamily="2" charset="0"/>
              </a:rPr>
              <a:t>Engagement Activities</a:t>
            </a:r>
          </a:p>
          <a:p>
            <a:r>
              <a:rPr lang="en-US" sz="1400">
                <a:latin typeface="GT Walsheim LC Light" pitchFamily="2" charset="0"/>
                <a:cs typeface="GT Walsheim LC Light" pitchFamily="2" charset="0"/>
              </a:rPr>
              <a:t>A formal public engagement campaign will be launched, including: </a:t>
            </a:r>
          </a:p>
          <a:p>
            <a:pPr marL="283464" lvl="1" indent="-283464"/>
            <a:r>
              <a:rPr lang="en-US" sz="1400">
                <a:latin typeface="GT Walsheim LC Light" pitchFamily="2" charset="0"/>
                <a:cs typeface="GT Walsheim LC Light" pitchFamily="2" charset="0"/>
              </a:rPr>
              <a:t>Updates on the City’s website</a:t>
            </a:r>
          </a:p>
          <a:p>
            <a:pPr marL="283464" lvl="1" indent="-283464"/>
            <a:r>
              <a:rPr lang="en-US" sz="1400">
                <a:latin typeface="GT Walsheim LC Light" pitchFamily="2" charset="0"/>
                <a:cs typeface="GT Walsheim LC Light" pitchFamily="2" charset="0"/>
              </a:rPr>
              <a:t>A public open house session</a:t>
            </a:r>
          </a:p>
          <a:p>
            <a:pPr marL="283464" lvl="1" indent="-283464"/>
            <a:r>
              <a:rPr lang="en-US" sz="1400">
                <a:latin typeface="GT Walsheim LC Light" pitchFamily="2" charset="0"/>
                <a:cs typeface="GT Walsheim LC Light" pitchFamily="2" charset="0"/>
              </a:rPr>
              <a:t>Opportunities for residents to ask questions and provide feedback</a:t>
            </a:r>
          </a:p>
          <a:p>
            <a:r>
              <a:rPr lang="en-US" sz="1400" b="1">
                <a:latin typeface="GT Walsheim LC Light" pitchFamily="2" charset="0"/>
                <a:cs typeface="GT Walsheim LC Light" pitchFamily="2" charset="0"/>
              </a:rPr>
              <a:t>Process &amp; Outcomes</a:t>
            </a:r>
          </a:p>
          <a:p>
            <a:r>
              <a:rPr lang="en-US" sz="1400">
                <a:latin typeface="GT Walsheim LC Light" pitchFamily="2" charset="0"/>
                <a:cs typeface="GT Walsheim LC Light" pitchFamily="2" charset="0"/>
              </a:rPr>
              <a:t>Feedback collected will inform the final business plan for the GBEs.</a:t>
            </a:r>
          </a:p>
          <a:p>
            <a:r>
              <a:rPr lang="en-US" sz="1400">
                <a:latin typeface="GT Walsheim LC Light" pitchFamily="2" charset="0"/>
                <a:cs typeface="GT Walsheim LC Light" pitchFamily="2" charset="0"/>
              </a:rPr>
              <a:t>The finalized plan will be presented to Council for approval through bylaw.</a:t>
            </a:r>
          </a:p>
          <a:p>
            <a:r>
              <a:rPr lang="en-US" sz="1400">
                <a:latin typeface="GT Walsheim LC Light" pitchFamily="2" charset="0"/>
                <a:cs typeface="GT Walsheim LC Light" pitchFamily="2" charset="0"/>
              </a:rPr>
              <a:t>Several public reports have already been presented to Council, including Reports 2023-109, 2024-47, 2024-221, 2025-28, and 2025-139.</a:t>
            </a:r>
          </a:p>
          <a:p>
            <a:r>
              <a:rPr lang="en-US" sz="1400" b="1">
                <a:latin typeface="GT Walsheim LC Light" pitchFamily="2" charset="0"/>
                <a:cs typeface="GT Walsheim LC Light" pitchFamily="2" charset="0"/>
              </a:rPr>
              <a:t>Strategic Alignment</a:t>
            </a:r>
          </a:p>
          <a:p>
            <a:r>
              <a:rPr lang="en-US" sz="1400">
                <a:latin typeface="GT Walsheim LC Light" pitchFamily="2" charset="0"/>
                <a:cs typeface="GT Walsheim LC Light" pitchFamily="2" charset="0"/>
              </a:rPr>
              <a:t>This engagement supports the City's strategic pillars: </a:t>
            </a:r>
          </a:p>
          <a:p>
            <a:pPr marL="283464" lvl="1" indent="-283464"/>
            <a:r>
              <a:rPr lang="en-US" sz="1400">
                <a:latin typeface="GT Walsheim LC Light" pitchFamily="2" charset="0"/>
                <a:cs typeface="GT Walsheim LC Light" pitchFamily="2" charset="0"/>
              </a:rPr>
              <a:t>Environment and Climate Change</a:t>
            </a:r>
          </a:p>
          <a:p>
            <a:pPr marL="283464" lvl="1" indent="-283464"/>
            <a:r>
              <a:rPr lang="en-US" sz="1400">
                <a:latin typeface="GT Walsheim LC Light" pitchFamily="2" charset="0"/>
                <a:cs typeface="GT Walsheim LC Light" pitchFamily="2" charset="0"/>
              </a:rPr>
              <a:t>Welcoming, Livable, Healthy Community</a:t>
            </a:r>
          </a:p>
          <a:p>
            <a:pPr marL="283464" lvl="1" indent="-283464"/>
            <a:r>
              <a:rPr lang="en-US" sz="1400">
                <a:latin typeface="GT Walsheim LC Light" pitchFamily="2" charset="0"/>
                <a:cs typeface="GT Walsheim LC Light" pitchFamily="2" charset="0"/>
              </a:rPr>
              <a:t>Sustainable and Resilient Infrastructure</a:t>
            </a:r>
          </a:p>
        </p:txBody>
      </p:sp>
      <p:sp>
        <p:nvSpPr>
          <p:cNvPr id="5" name="Footer Placeholder 5">
            <a:extLst>
              <a:ext uri="{FF2B5EF4-FFF2-40B4-BE49-F238E27FC236}">
                <a16:creationId xmlns:a16="http://schemas.microsoft.com/office/drawing/2014/main" id="{FAC52BF1-5705-43D4-BA01-8C2064BC6AD7}"/>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pic>
        <p:nvPicPr>
          <p:cNvPr id="6" name="Picture 5">
            <a:extLst>
              <a:ext uri="{FF2B5EF4-FFF2-40B4-BE49-F238E27FC236}">
                <a16:creationId xmlns:a16="http://schemas.microsoft.com/office/drawing/2014/main" id="{FB8EA6C9-CF0E-FB73-7057-3E62F3CD10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Tree>
    <p:extLst>
      <p:ext uri="{BB962C8B-B14F-4D97-AF65-F5344CB8AC3E}">
        <p14:creationId xmlns:p14="http://schemas.microsoft.com/office/powerpoint/2010/main" val="3602498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AD7D96E7-D08D-12DF-ADB3-23F7F2CC3791}"/>
              </a:ext>
            </a:extLst>
          </p:cNvPr>
          <p:cNvSpPr/>
          <p:nvPr/>
        </p:nvSpPr>
        <p:spPr>
          <a:xfrm>
            <a:off x="4754150" y="2885254"/>
            <a:ext cx="3923801" cy="1261991"/>
          </a:xfrm>
          <a:prstGeom prst="roundRect">
            <a:avLst>
              <a:gd name="adj" fmla="val 1149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3" name="Title 2">
            <a:extLst>
              <a:ext uri="{FF2B5EF4-FFF2-40B4-BE49-F238E27FC236}">
                <a16:creationId xmlns:a16="http://schemas.microsoft.com/office/drawing/2014/main" id="{7A9FEB3D-92D5-AF56-E227-B295D1E80E35}"/>
              </a:ext>
            </a:extLst>
          </p:cNvPr>
          <p:cNvSpPr>
            <a:spLocks noGrp="1"/>
          </p:cNvSpPr>
          <p:nvPr>
            <p:ph type="title"/>
          </p:nvPr>
        </p:nvSpPr>
        <p:spPr/>
        <p:txBody>
          <a:bodyPr/>
          <a:lstStyle/>
          <a:p>
            <a:r>
              <a:rPr lang="en-US" dirty="0"/>
              <a:t>Disclaimer</a:t>
            </a:r>
            <a:endParaRPr lang="en-CA" dirty="0"/>
          </a:p>
        </p:txBody>
      </p:sp>
      <p:sp>
        <p:nvSpPr>
          <p:cNvPr id="4" name="Text Placeholder 3">
            <a:extLst>
              <a:ext uri="{FF2B5EF4-FFF2-40B4-BE49-F238E27FC236}">
                <a16:creationId xmlns:a16="http://schemas.microsoft.com/office/drawing/2014/main" id="{F6D14D76-4482-D4C2-C591-3A2D43F256C0}"/>
              </a:ext>
            </a:extLst>
          </p:cNvPr>
          <p:cNvSpPr>
            <a:spLocks noGrp="1"/>
          </p:cNvSpPr>
          <p:nvPr>
            <p:ph type="body" sz="quarter" idx="15"/>
          </p:nvPr>
        </p:nvSpPr>
        <p:spPr>
          <a:xfrm>
            <a:off x="392631" y="1160463"/>
            <a:ext cx="3960000" cy="4824411"/>
          </a:xfrm>
        </p:spPr>
        <p:txBody>
          <a:bodyPr/>
          <a:lstStyle/>
          <a:p>
            <a:pPr marL="0" indent="0">
              <a:spcAft>
                <a:spcPts val="0"/>
              </a:spcAft>
              <a:buNone/>
            </a:pPr>
            <a:r>
              <a:rPr lang="en-US" sz="900" i="0" u="none" strike="noStrike" baseline="0" dirty="0">
                <a:solidFill>
                  <a:schemeClr val="accent1"/>
                </a:solidFill>
                <a:latin typeface="GT Walsheim LC Bold" pitchFamily="2" charset="0"/>
                <a:cs typeface="GT Walsheim LC Bold" pitchFamily="2" charset="0"/>
              </a:rPr>
              <a:t>Verification of information (continued)</a:t>
            </a:r>
            <a:endParaRPr lang="en-US" sz="900" b="1" dirty="0">
              <a:solidFill>
                <a:schemeClr val="accent1"/>
              </a:solidFill>
              <a:latin typeface="GT Walsheim LC Bold" pitchFamily="2" charset="0"/>
              <a:cs typeface="GT Walsheim LC Bold" pitchFamily="2" charset="0"/>
            </a:endParaRPr>
          </a:p>
          <a:p>
            <a:pPr marL="0" indent="0">
              <a:spcAft>
                <a:spcPts val="1200"/>
              </a:spcAft>
              <a:buNone/>
            </a:pPr>
            <a:r>
              <a:rPr lang="en-US" sz="900" dirty="0"/>
              <a:t>The Recipient shall only be entitled to rely on the representations and warranties, if any, made in any final executed definitive agreements with </a:t>
            </a:r>
            <a:br>
              <a:rPr lang="en-US" sz="900" dirty="0"/>
            </a:br>
            <a:r>
              <a:rPr lang="en-US" sz="900" dirty="0"/>
              <a:t>the Investment. Recipients are responsible for satisfying themselves as to </a:t>
            </a:r>
            <a:br>
              <a:rPr lang="en-US" sz="900" dirty="0"/>
            </a:br>
            <a:r>
              <a:rPr lang="en-US" sz="900" dirty="0"/>
              <a:t>the accuracy and completeness of all information contained herein.</a:t>
            </a:r>
          </a:p>
          <a:p>
            <a:pPr marL="0" indent="0">
              <a:spcAft>
                <a:spcPts val="0"/>
              </a:spcAft>
              <a:buNone/>
            </a:pPr>
            <a:r>
              <a:rPr lang="en-US" sz="900" b="1" dirty="0">
                <a:solidFill>
                  <a:schemeClr val="accent1"/>
                </a:solidFill>
                <a:latin typeface="GT Walsheim LC Bold" pitchFamily="2" charset="0"/>
                <a:cs typeface="GT Walsheim LC Bold" pitchFamily="2" charset="0"/>
              </a:rPr>
              <a:t>No offer or solicitation</a:t>
            </a:r>
          </a:p>
          <a:p>
            <a:pPr marL="0" indent="0" algn="l">
              <a:spcAft>
                <a:spcPts val="600"/>
              </a:spcAft>
              <a:buNone/>
            </a:pPr>
            <a:r>
              <a:rPr lang="en-US" sz="900" b="0" i="0" u="none" strike="noStrike" baseline="0" dirty="0"/>
              <a:t>Doane GTCFI confirms that it is registered as an Exempt Market Dealer as defined under Canadian securities laws. </a:t>
            </a:r>
          </a:p>
          <a:p>
            <a:pPr marL="0" indent="0" algn="l">
              <a:spcAft>
                <a:spcPts val="1200"/>
              </a:spcAft>
              <a:buNone/>
            </a:pPr>
            <a:r>
              <a:rPr lang="en-US" sz="900" dirty="0"/>
              <a:t>No securities commission or securities regulatory authority in Canada, </a:t>
            </a:r>
            <a:br>
              <a:rPr lang="en-US" sz="900" dirty="0"/>
            </a:br>
            <a:r>
              <a:rPr lang="en-US" sz="900" dirty="0"/>
              <a:t>the U.S., or any other jurisdiction has in any way passed upon the merits </a:t>
            </a:r>
            <a:br>
              <a:rPr lang="en-US" sz="900" dirty="0"/>
            </a:br>
            <a:r>
              <a:rPr lang="en-US" sz="900" dirty="0"/>
              <a:t>of this opportunity or the accuracy or adequacy of the Report. The Report does not constitute an offer or solicitation in any jurisdiction to any person to whom it is unlawful to make such an offer or solicitation. The Report is not, and under no circumstances is to be construed as a prospectus, a public offering, or an offering Report as defined under applicable securities legislation.</a:t>
            </a:r>
          </a:p>
          <a:p>
            <a:pPr marL="0" indent="0">
              <a:spcAft>
                <a:spcPts val="0"/>
              </a:spcAft>
              <a:buNone/>
            </a:pPr>
            <a:r>
              <a:rPr lang="en-US" sz="900" i="0" u="none" strike="noStrike" baseline="0" dirty="0">
                <a:solidFill>
                  <a:schemeClr val="accent1"/>
                </a:solidFill>
                <a:latin typeface="GT Walsheim LC Bold" pitchFamily="2" charset="0"/>
                <a:cs typeface="GT Walsheim LC Bold" pitchFamily="2" charset="0"/>
              </a:rPr>
              <a:t>Sundries</a:t>
            </a:r>
            <a:endParaRPr lang="en-US" sz="900" b="1" dirty="0">
              <a:solidFill>
                <a:schemeClr val="accent1"/>
              </a:solidFill>
              <a:latin typeface="GT Walsheim LC Bold" pitchFamily="2" charset="0"/>
              <a:cs typeface="GT Walsheim LC Bold" pitchFamily="2" charset="0"/>
            </a:endParaRPr>
          </a:p>
          <a:p>
            <a:pPr marL="0" indent="0" algn="l">
              <a:spcAft>
                <a:spcPts val="1200"/>
              </a:spcAft>
              <a:buNone/>
            </a:pPr>
            <a:r>
              <a:rPr lang="en-US" sz="900" b="0" i="0" u="none" strike="noStrike" baseline="0" dirty="0"/>
              <a:t>References in the foregoing paragraphs to partners in Doane GTCFI include references to partners in its associated partnerships and to the employees </a:t>
            </a:r>
            <a:br>
              <a:rPr lang="en-US" sz="900" b="0" i="0" u="none" strike="noStrike" baseline="0" dirty="0"/>
            </a:br>
            <a:r>
              <a:rPr lang="en-US" sz="900" b="0" i="0" u="none" strike="noStrike" baseline="0" dirty="0"/>
              <a:t>of Doane GTCFI.</a:t>
            </a:r>
          </a:p>
          <a:p>
            <a:pPr marL="0" indent="0" algn="l">
              <a:spcAft>
                <a:spcPts val="800"/>
              </a:spcAft>
              <a:buNone/>
            </a:pPr>
            <a:endParaRPr lang="en-US" sz="900" b="0" i="0" u="none" strike="noStrike" baseline="0" dirty="0">
              <a:solidFill>
                <a:srgbClr val="414142"/>
              </a:solidFill>
            </a:endParaRPr>
          </a:p>
          <a:p>
            <a:pPr marL="0" indent="0">
              <a:buNone/>
            </a:pPr>
            <a:endParaRPr lang="en-US" sz="900" dirty="0"/>
          </a:p>
          <a:p>
            <a:pPr marL="0" indent="0">
              <a:buNone/>
            </a:pPr>
            <a:endParaRPr lang="en-CA" sz="900" dirty="0"/>
          </a:p>
        </p:txBody>
      </p:sp>
      <p:sp>
        <p:nvSpPr>
          <p:cNvPr id="5" name="Text Placeholder 4">
            <a:extLst>
              <a:ext uri="{FF2B5EF4-FFF2-40B4-BE49-F238E27FC236}">
                <a16:creationId xmlns:a16="http://schemas.microsoft.com/office/drawing/2014/main" id="{5CFC4C16-4163-0364-AD7F-93505012072E}"/>
              </a:ext>
            </a:extLst>
          </p:cNvPr>
          <p:cNvSpPr>
            <a:spLocks noGrp="1"/>
          </p:cNvSpPr>
          <p:nvPr>
            <p:ph type="body" sz="quarter" idx="16"/>
          </p:nvPr>
        </p:nvSpPr>
        <p:spPr>
          <a:xfrm>
            <a:off x="4763885" y="1160463"/>
            <a:ext cx="3960000" cy="1712523"/>
          </a:xfrm>
        </p:spPr>
        <p:txBody>
          <a:bodyPr/>
          <a:lstStyle/>
          <a:p>
            <a:pPr marL="0" indent="0">
              <a:spcAft>
                <a:spcPts val="0"/>
              </a:spcAft>
              <a:buNone/>
            </a:pPr>
            <a:r>
              <a:rPr lang="en-US" sz="900" i="0" u="none" strike="noStrike" baseline="0" dirty="0">
                <a:solidFill>
                  <a:schemeClr val="accent1"/>
                </a:solidFill>
                <a:latin typeface="GT Walsheim LC Bold" pitchFamily="2" charset="0"/>
                <a:cs typeface="GT Walsheim LC Bold" pitchFamily="2" charset="0"/>
              </a:rPr>
              <a:t>Further information</a:t>
            </a:r>
            <a:endParaRPr lang="en-US" sz="900" b="1" dirty="0">
              <a:solidFill>
                <a:schemeClr val="accent1"/>
              </a:solidFill>
              <a:latin typeface="GT Walsheim LC Bold" pitchFamily="2" charset="0"/>
              <a:cs typeface="GT Walsheim LC Bold" pitchFamily="2" charset="0"/>
            </a:endParaRPr>
          </a:p>
          <a:p>
            <a:pPr marL="0" indent="0" algn="l">
              <a:spcAft>
                <a:spcPts val="1200"/>
              </a:spcAft>
              <a:buNone/>
            </a:pPr>
            <a:r>
              <a:rPr lang="en-US" sz="900" b="0" i="0" u="none" strike="noStrike" baseline="0" dirty="0"/>
              <a:t>In furnishing this Report, Doane GTCFI and the Investment reserves the right to amend or replace the Report at any time. However, neither </a:t>
            </a:r>
            <a:r>
              <a:rPr lang="en-US" sz="900" dirty="0"/>
              <a:t>Doane GTCFI</a:t>
            </a:r>
            <a:r>
              <a:rPr lang="en-US" sz="900" b="0" i="0" u="none" strike="noStrike" baseline="0" dirty="0"/>
              <a:t> nor the Investment is under any obligation to provide the Recipient with access to any additional information or to update or correct any inaccuracies which may become apparent in this Report, or any other information made available in connection with the Report.</a:t>
            </a:r>
            <a:endParaRPr lang="en-CA" sz="900" dirty="0"/>
          </a:p>
          <a:p>
            <a:pPr marL="0" indent="0">
              <a:spcAft>
                <a:spcPts val="0"/>
              </a:spcAft>
              <a:buNone/>
            </a:pPr>
            <a:r>
              <a:rPr lang="en-US" sz="900" i="0" u="none" strike="noStrike" baseline="0" dirty="0">
                <a:solidFill>
                  <a:schemeClr val="accent1"/>
                </a:solidFill>
                <a:latin typeface="GT Walsheim LC Bold" pitchFamily="2" charset="0"/>
                <a:cs typeface="GT Walsheim LC Bold" pitchFamily="2" charset="0"/>
              </a:rPr>
              <a:t>Contact</a:t>
            </a:r>
            <a:endParaRPr lang="en-US" sz="900" b="1" dirty="0">
              <a:solidFill>
                <a:schemeClr val="accent1"/>
              </a:solidFill>
              <a:latin typeface="GT Walsheim LC Bold" pitchFamily="2" charset="0"/>
              <a:cs typeface="GT Walsheim LC Bold" pitchFamily="2" charset="0"/>
            </a:endParaRPr>
          </a:p>
          <a:p>
            <a:pPr marL="0" indent="0" algn="l">
              <a:buNone/>
            </a:pPr>
            <a:r>
              <a:rPr lang="en-US" sz="900" b="0" i="0" u="none" strike="noStrike" baseline="0" dirty="0"/>
              <a:t>All questions and enquiries regarding the Report or the Investment should be directed to the following  individuals:</a:t>
            </a:r>
            <a:endParaRPr lang="en-CA" sz="900" dirty="0"/>
          </a:p>
        </p:txBody>
      </p:sp>
      <p:sp>
        <p:nvSpPr>
          <p:cNvPr id="7" name="Slide Number Placeholder 6">
            <a:extLst>
              <a:ext uri="{FF2B5EF4-FFF2-40B4-BE49-F238E27FC236}">
                <a16:creationId xmlns:a16="http://schemas.microsoft.com/office/drawing/2014/main" id="{3CC4A40D-A9EC-A7C8-AD93-E075B91A0E8B}"/>
              </a:ext>
            </a:extLst>
          </p:cNvPr>
          <p:cNvSpPr>
            <a:spLocks noGrp="1"/>
          </p:cNvSpPr>
          <p:nvPr>
            <p:ph type="sldNum" sz="quarter" idx="4"/>
          </p:nvPr>
        </p:nvSpPr>
        <p:spPr/>
        <p:txBody>
          <a:bodyPr/>
          <a:lstStyle/>
          <a:p>
            <a:fld id="{1AB31D9B-80B6-41F8-B283-556E26E6158E}" type="slidenum">
              <a:rPr lang="en-GB" smtClean="0"/>
              <a:pPr/>
              <a:t>3</a:t>
            </a:fld>
            <a:endParaRPr lang="en-GB"/>
          </a:p>
        </p:txBody>
      </p:sp>
      <p:sp>
        <p:nvSpPr>
          <p:cNvPr id="2" name="TextBox 1">
            <a:extLst>
              <a:ext uri="{FF2B5EF4-FFF2-40B4-BE49-F238E27FC236}">
                <a16:creationId xmlns:a16="http://schemas.microsoft.com/office/drawing/2014/main" id="{238F95F2-D4D9-4577-E467-508166DB4C6A}"/>
              </a:ext>
            </a:extLst>
          </p:cNvPr>
          <p:cNvSpPr txBox="1"/>
          <p:nvPr/>
        </p:nvSpPr>
        <p:spPr>
          <a:xfrm>
            <a:off x="4984719" y="3070078"/>
            <a:ext cx="1693349" cy="692497"/>
          </a:xfrm>
          <a:prstGeom prst="rect">
            <a:avLst/>
          </a:prstGeom>
          <a:noFill/>
        </p:spPr>
        <p:txBody>
          <a:bodyPr wrap="square" lIns="0" tIns="0" rIns="0" bIns="0">
            <a:spAutoFit/>
          </a:bodyPr>
          <a:lstStyle/>
          <a:p>
            <a:pPr>
              <a:spcAft>
                <a:spcPts val="0"/>
              </a:spcAft>
            </a:pPr>
            <a:r>
              <a:rPr lang="en-US" b="1" i="0" u="none" strike="noStrike" baseline="0">
                <a:solidFill>
                  <a:schemeClr val="accent1"/>
                </a:solidFill>
                <a:latin typeface="GT Walsheim LC Bold" pitchFamily="2" charset="0"/>
                <a:cs typeface="GT Walsheim LC Bold" pitchFamily="2" charset="0"/>
              </a:rPr>
              <a:t>Troy MacDonald</a:t>
            </a:r>
          </a:p>
          <a:p>
            <a:pPr>
              <a:spcAft>
                <a:spcPts val="0"/>
              </a:spcAft>
            </a:pPr>
            <a:r>
              <a:rPr lang="en-CA">
                <a:solidFill>
                  <a:srgbClr val="414142"/>
                </a:solidFill>
                <a:latin typeface="GT Walsheim LC Light" pitchFamily="2" charset="0"/>
                <a:cs typeface="GT Walsheim LC Light" pitchFamily="2" charset="0"/>
              </a:rPr>
              <a:t>CPA, CA, CBV</a:t>
            </a:r>
          </a:p>
          <a:p>
            <a:pPr>
              <a:spcAft>
                <a:spcPts val="0"/>
              </a:spcAft>
            </a:pPr>
            <a:r>
              <a:rPr lang="en-CA">
                <a:solidFill>
                  <a:schemeClr val="accent1"/>
                </a:solidFill>
                <a:latin typeface="GT Walsheim LC Light" pitchFamily="2" charset="0"/>
                <a:cs typeface="GT Walsheim LC Light" pitchFamily="2" charset="0"/>
              </a:rPr>
              <a:t>Managing Director, Transactions</a:t>
            </a:r>
            <a:br>
              <a:rPr lang="en-CA">
                <a:solidFill>
                  <a:srgbClr val="414142"/>
                </a:solidFill>
                <a:latin typeface="GT Walsheim LC Light" pitchFamily="2" charset="0"/>
                <a:cs typeface="GT Walsheim LC Light" pitchFamily="2" charset="0"/>
              </a:rPr>
            </a:br>
            <a:r>
              <a:rPr lang="en-CA" b="1">
                <a:solidFill>
                  <a:schemeClr val="accent1"/>
                </a:solidFill>
                <a:latin typeface="GT Walsheim LC Light" pitchFamily="2" charset="0"/>
                <a:cs typeface="GT Walsheim LC Light" pitchFamily="2" charset="0"/>
              </a:rPr>
              <a:t>T</a:t>
            </a:r>
            <a:r>
              <a:rPr lang="en-CA">
                <a:solidFill>
                  <a:srgbClr val="414142"/>
                </a:solidFill>
                <a:latin typeface="GT Walsheim LC Light" pitchFamily="2" charset="0"/>
                <a:cs typeface="GT Walsheim LC Light" pitchFamily="2" charset="0"/>
              </a:rPr>
              <a:t> +1 416 369 6401</a:t>
            </a:r>
          </a:p>
          <a:p>
            <a:pPr>
              <a:spcAft>
                <a:spcPts val="0"/>
              </a:spcAft>
            </a:pPr>
            <a:r>
              <a:rPr lang="en-CA" b="1" i="0" u="none" strike="noStrike" baseline="0">
                <a:solidFill>
                  <a:schemeClr val="accent1"/>
                </a:solidFill>
                <a:latin typeface="GT Walsheim LC Light" pitchFamily="2" charset="0"/>
                <a:cs typeface="GT Walsheim LC Light" pitchFamily="2" charset="0"/>
              </a:rPr>
              <a:t>E</a:t>
            </a:r>
            <a:r>
              <a:rPr lang="en-CA" b="0" i="0" u="none" strike="noStrike" baseline="0">
                <a:solidFill>
                  <a:srgbClr val="414142"/>
                </a:solidFill>
                <a:latin typeface="GT Walsheim LC Light" pitchFamily="2" charset="0"/>
                <a:cs typeface="GT Walsheim LC Light" pitchFamily="2" charset="0"/>
              </a:rPr>
              <a:t> Troy.MacDonald@</a:t>
            </a:r>
            <a:r>
              <a:rPr lang="en-CA">
                <a:solidFill>
                  <a:srgbClr val="414142"/>
                </a:solidFill>
                <a:latin typeface="GT Walsheim LC Light" pitchFamily="2" charset="0"/>
                <a:cs typeface="GT Walsheim LC Light" pitchFamily="2" charset="0"/>
              </a:rPr>
              <a:t>doane</a:t>
            </a:r>
            <a:r>
              <a:rPr lang="en-CA" b="0" i="0" u="none" strike="noStrike" baseline="0">
                <a:solidFill>
                  <a:srgbClr val="414142"/>
                </a:solidFill>
                <a:latin typeface="GT Walsheim LC Light" pitchFamily="2" charset="0"/>
                <a:cs typeface="GT Walsheim LC Light" pitchFamily="2" charset="0"/>
              </a:rPr>
              <a:t>.gt.</a:t>
            </a:r>
            <a:r>
              <a:rPr lang="en-CA">
                <a:solidFill>
                  <a:srgbClr val="414142"/>
                </a:solidFill>
                <a:latin typeface="GT Walsheim LC Light" pitchFamily="2" charset="0"/>
                <a:cs typeface="GT Walsheim LC Light" pitchFamily="2" charset="0"/>
              </a:rPr>
              <a:t>ca</a:t>
            </a:r>
            <a:endParaRPr lang="en-US" b="0" i="0" u="none" strike="noStrike" baseline="0">
              <a:solidFill>
                <a:srgbClr val="414142"/>
              </a:solidFill>
              <a:latin typeface="GT Walsheim LC Light" pitchFamily="2" charset="0"/>
              <a:cs typeface="GT Walsheim LC Light" pitchFamily="2" charset="0"/>
            </a:endParaRPr>
          </a:p>
        </p:txBody>
      </p:sp>
      <p:sp>
        <p:nvSpPr>
          <p:cNvPr id="8" name="TextBox 7">
            <a:extLst>
              <a:ext uri="{FF2B5EF4-FFF2-40B4-BE49-F238E27FC236}">
                <a16:creationId xmlns:a16="http://schemas.microsoft.com/office/drawing/2014/main" id="{09065D41-823D-7AC9-5CA7-24938D086380}"/>
              </a:ext>
            </a:extLst>
          </p:cNvPr>
          <p:cNvSpPr txBox="1"/>
          <p:nvPr/>
        </p:nvSpPr>
        <p:spPr>
          <a:xfrm>
            <a:off x="6908637" y="3070077"/>
            <a:ext cx="1693349" cy="692497"/>
          </a:xfrm>
          <a:prstGeom prst="rect">
            <a:avLst/>
          </a:prstGeom>
          <a:noFill/>
        </p:spPr>
        <p:txBody>
          <a:bodyPr wrap="square" lIns="0" tIns="0" rIns="0" bIns="0">
            <a:spAutoFit/>
          </a:bodyPr>
          <a:lstStyle/>
          <a:p>
            <a:pPr>
              <a:spcAft>
                <a:spcPts val="0"/>
              </a:spcAft>
            </a:pPr>
            <a:r>
              <a:rPr lang="en-US" b="1" i="0" u="none" strike="noStrike" baseline="0">
                <a:solidFill>
                  <a:schemeClr val="accent1"/>
                </a:solidFill>
                <a:latin typeface="GT Walsheim LC Bold" pitchFamily="2" charset="0"/>
                <a:cs typeface="GT Walsheim LC Bold" pitchFamily="2" charset="0"/>
              </a:rPr>
              <a:t>Peter Cummins</a:t>
            </a:r>
          </a:p>
          <a:p>
            <a:pPr>
              <a:spcAft>
                <a:spcPts val="0"/>
              </a:spcAft>
            </a:pPr>
            <a:r>
              <a:rPr lang="en-CA">
                <a:solidFill>
                  <a:srgbClr val="414142"/>
                </a:solidFill>
                <a:latin typeface="GT Walsheim LC Light" pitchFamily="2" charset="0"/>
                <a:cs typeface="GT Walsheim LC Light" pitchFamily="2" charset="0"/>
              </a:rPr>
              <a:t>ACA (CAI)</a:t>
            </a:r>
          </a:p>
          <a:p>
            <a:pPr>
              <a:spcAft>
                <a:spcPts val="0"/>
              </a:spcAft>
            </a:pPr>
            <a:r>
              <a:rPr lang="en-CA">
                <a:solidFill>
                  <a:schemeClr val="accent1"/>
                </a:solidFill>
                <a:latin typeface="GT Walsheim LC Light" pitchFamily="2" charset="0"/>
                <a:cs typeface="GT Walsheim LC Light" pitchFamily="2" charset="0"/>
              </a:rPr>
              <a:t>Associate Director, Transactions</a:t>
            </a:r>
            <a:br>
              <a:rPr lang="en-CA">
                <a:solidFill>
                  <a:srgbClr val="414142"/>
                </a:solidFill>
                <a:latin typeface="GT Walsheim LC Light" pitchFamily="2" charset="0"/>
                <a:cs typeface="GT Walsheim LC Light" pitchFamily="2" charset="0"/>
              </a:rPr>
            </a:br>
            <a:r>
              <a:rPr lang="en-CA" b="1">
                <a:solidFill>
                  <a:schemeClr val="accent1"/>
                </a:solidFill>
                <a:latin typeface="GT Walsheim LC Light" pitchFamily="2" charset="0"/>
                <a:cs typeface="GT Walsheim LC Light" pitchFamily="2" charset="0"/>
              </a:rPr>
              <a:t>T</a:t>
            </a:r>
            <a:r>
              <a:rPr lang="en-CA">
                <a:solidFill>
                  <a:srgbClr val="414142"/>
                </a:solidFill>
                <a:latin typeface="GT Walsheim LC Light" pitchFamily="2" charset="0"/>
                <a:cs typeface="GT Walsheim LC Light" pitchFamily="2" charset="0"/>
              </a:rPr>
              <a:t> +1 647 329 0566</a:t>
            </a:r>
          </a:p>
          <a:p>
            <a:pPr>
              <a:spcAft>
                <a:spcPts val="0"/>
              </a:spcAft>
            </a:pPr>
            <a:r>
              <a:rPr lang="en-CA" b="1" i="0" u="none" strike="noStrike" baseline="0">
                <a:solidFill>
                  <a:schemeClr val="accent1"/>
                </a:solidFill>
                <a:latin typeface="GT Walsheim LC Light" pitchFamily="2" charset="0"/>
                <a:cs typeface="GT Walsheim LC Light" pitchFamily="2" charset="0"/>
              </a:rPr>
              <a:t>E</a:t>
            </a:r>
            <a:r>
              <a:rPr lang="en-CA" b="0" i="0" u="none" strike="noStrike" baseline="0">
                <a:solidFill>
                  <a:srgbClr val="414142"/>
                </a:solidFill>
                <a:latin typeface="GT Walsheim LC Light" pitchFamily="2" charset="0"/>
                <a:cs typeface="GT Walsheim LC Light" pitchFamily="2" charset="0"/>
              </a:rPr>
              <a:t> Peter.Cummins@</a:t>
            </a:r>
            <a:r>
              <a:rPr lang="en-CA">
                <a:solidFill>
                  <a:srgbClr val="414142"/>
                </a:solidFill>
                <a:latin typeface="GT Walsheim LC Light" pitchFamily="2" charset="0"/>
                <a:cs typeface="GT Walsheim LC Light" pitchFamily="2" charset="0"/>
              </a:rPr>
              <a:t>doane</a:t>
            </a:r>
            <a:r>
              <a:rPr lang="en-CA" b="0" i="0" u="none" strike="noStrike" baseline="0">
                <a:solidFill>
                  <a:srgbClr val="414142"/>
                </a:solidFill>
                <a:latin typeface="GT Walsheim LC Light" pitchFamily="2" charset="0"/>
                <a:cs typeface="GT Walsheim LC Light" pitchFamily="2" charset="0"/>
              </a:rPr>
              <a:t>.gt.</a:t>
            </a:r>
            <a:r>
              <a:rPr lang="en-CA">
                <a:solidFill>
                  <a:srgbClr val="414142"/>
                </a:solidFill>
                <a:latin typeface="GT Walsheim LC Light" pitchFamily="2" charset="0"/>
                <a:cs typeface="GT Walsheim LC Light" pitchFamily="2" charset="0"/>
              </a:rPr>
              <a:t>ca</a:t>
            </a:r>
            <a:endParaRPr lang="en-US" b="0" i="0" u="none" strike="noStrike" baseline="0">
              <a:solidFill>
                <a:srgbClr val="414142"/>
              </a:solidFill>
              <a:latin typeface="GT Walsheim LC Light" pitchFamily="2" charset="0"/>
              <a:cs typeface="GT Walsheim LC Light" pitchFamily="2" charset="0"/>
            </a:endParaRPr>
          </a:p>
        </p:txBody>
      </p:sp>
      <p:sp>
        <p:nvSpPr>
          <p:cNvPr id="9" name="Footer Placeholder 5">
            <a:extLst>
              <a:ext uri="{FF2B5EF4-FFF2-40B4-BE49-F238E27FC236}">
                <a16:creationId xmlns:a16="http://schemas.microsoft.com/office/drawing/2014/main" id="{EA59AD8A-BC5F-B11E-363C-F4F51B35842E}"/>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665862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62C07-E104-7AA1-6C57-315323493A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FAFDC3-5B33-17CD-C8C7-51D6DAB5429E}"/>
              </a:ext>
            </a:extLst>
          </p:cNvPr>
          <p:cNvSpPr>
            <a:spLocks noGrp="1"/>
          </p:cNvSpPr>
          <p:nvPr>
            <p:ph type="title"/>
          </p:nvPr>
        </p:nvSpPr>
        <p:spPr>
          <a:xfrm>
            <a:off x="1094185" y="2924178"/>
            <a:ext cx="4625128" cy="348622"/>
          </a:xfrm>
        </p:spPr>
        <p:txBody>
          <a:bodyPr/>
          <a:lstStyle/>
          <a:p>
            <a:r>
              <a:rPr lang="en-US"/>
              <a:t>Performance &amp; Resilience</a:t>
            </a:r>
          </a:p>
        </p:txBody>
      </p:sp>
      <p:sp>
        <p:nvSpPr>
          <p:cNvPr id="5" name="Slide Number Placeholder 4">
            <a:extLst>
              <a:ext uri="{FF2B5EF4-FFF2-40B4-BE49-F238E27FC236}">
                <a16:creationId xmlns:a16="http://schemas.microsoft.com/office/drawing/2014/main" id="{6E7C35AB-EA16-CAF2-B73B-1AA61A263E68}"/>
              </a:ext>
            </a:extLst>
          </p:cNvPr>
          <p:cNvSpPr>
            <a:spLocks noGrp="1"/>
          </p:cNvSpPr>
          <p:nvPr>
            <p:ph type="sldNum" sz="quarter" idx="4"/>
          </p:nvPr>
        </p:nvSpPr>
        <p:spPr/>
        <p:txBody>
          <a:bodyPr/>
          <a:lstStyle/>
          <a:p>
            <a:fld id="{1AB31D9B-80B6-41F8-B283-556E26E6158E}" type="slidenum">
              <a:rPr lang="en-GB" smtClean="0"/>
              <a:pPr/>
              <a:t>30</a:t>
            </a:fld>
            <a:endParaRPr lang="en-GB"/>
          </a:p>
        </p:txBody>
      </p:sp>
      <p:sp>
        <p:nvSpPr>
          <p:cNvPr id="3" name="Footer Placeholder 5">
            <a:extLst>
              <a:ext uri="{FF2B5EF4-FFF2-40B4-BE49-F238E27FC236}">
                <a16:creationId xmlns:a16="http://schemas.microsoft.com/office/drawing/2014/main" id="{7E068863-CF39-792E-653B-04EB3D51B43B}"/>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3647686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D7840-54D3-0F6B-48D4-96E91ED604AB}"/>
              </a:ext>
            </a:extLst>
          </p:cNvPr>
          <p:cNvSpPr>
            <a:spLocks noGrp="1"/>
          </p:cNvSpPr>
          <p:nvPr>
            <p:ph type="title"/>
          </p:nvPr>
        </p:nvSpPr>
        <p:spPr/>
        <p:txBody>
          <a:bodyPr/>
          <a:lstStyle/>
          <a:p>
            <a:r>
              <a:rPr lang="en-US" dirty="0"/>
              <a:t>Performance Measures </a:t>
            </a:r>
          </a:p>
        </p:txBody>
      </p:sp>
      <p:sp>
        <p:nvSpPr>
          <p:cNvPr id="4" name="Slide Number Placeholder 3">
            <a:extLst>
              <a:ext uri="{FF2B5EF4-FFF2-40B4-BE49-F238E27FC236}">
                <a16:creationId xmlns:a16="http://schemas.microsoft.com/office/drawing/2014/main" id="{CE004E85-9452-DDE8-8F43-566C81F13A07}"/>
              </a:ext>
            </a:extLst>
          </p:cNvPr>
          <p:cNvSpPr>
            <a:spLocks noGrp="1"/>
          </p:cNvSpPr>
          <p:nvPr>
            <p:ph type="sldNum" sz="quarter" idx="4"/>
          </p:nvPr>
        </p:nvSpPr>
        <p:spPr/>
        <p:txBody>
          <a:bodyPr/>
          <a:lstStyle/>
          <a:p>
            <a:fld id="{1AB31D9B-80B6-41F8-B283-556E26E6158E}" type="slidenum">
              <a:rPr lang="en-GB" smtClean="0"/>
              <a:pPr/>
              <a:t>31</a:t>
            </a:fld>
            <a:endParaRPr lang="en-GB"/>
          </a:p>
        </p:txBody>
      </p:sp>
      <p:sp>
        <p:nvSpPr>
          <p:cNvPr id="32" name="TextBox 31">
            <a:extLst>
              <a:ext uri="{FF2B5EF4-FFF2-40B4-BE49-F238E27FC236}">
                <a16:creationId xmlns:a16="http://schemas.microsoft.com/office/drawing/2014/main" id="{DF6455B3-BB42-33EB-22FB-B8CF699B4750}"/>
              </a:ext>
            </a:extLst>
          </p:cNvPr>
          <p:cNvSpPr txBox="1"/>
          <p:nvPr/>
        </p:nvSpPr>
        <p:spPr>
          <a:xfrm>
            <a:off x="285391" y="835467"/>
            <a:ext cx="8039100" cy="5601533"/>
          </a:xfrm>
          <a:prstGeom prst="rect">
            <a:avLst/>
          </a:prstGeom>
          <a:noFill/>
        </p:spPr>
        <p:txBody>
          <a:bodyPr wrap="square">
            <a:spAutoFit/>
          </a:bodyPr>
          <a:lstStyle/>
          <a:p>
            <a:r>
              <a:rPr lang="en-US" sz="1400" dirty="0">
                <a:latin typeface="GT Walsheim LC Light" pitchFamily="2" charset="0"/>
                <a:cs typeface="GT Walsheim LC Light" pitchFamily="2" charset="0"/>
              </a:rPr>
              <a:t>The Board of Directors of the MSC will be responsible for overseeing performance and ensuring alignment with shareholder expectations, financial targets, and public value outcomes. Performance measures will be established to monitor governance, financial sustainability, service delivery, and strategic impact.</a:t>
            </a:r>
          </a:p>
          <a:p>
            <a:r>
              <a:rPr lang="en-US" sz="1400" b="1" dirty="0">
                <a:latin typeface="GT Walsheim LC Light" pitchFamily="2" charset="0"/>
                <a:cs typeface="GT Walsheim LC Light" pitchFamily="2" charset="0"/>
              </a:rPr>
              <a:t>Infrastructure Delivery &amp; Financial Accountability</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Cost Recovery Assurance</a:t>
            </a:r>
            <a:r>
              <a:rPr lang="en-US" sz="1400" dirty="0">
                <a:latin typeface="GT Walsheim LC Light" pitchFamily="2" charset="0"/>
                <a:cs typeface="GT Walsheim LC Light" pitchFamily="2" charset="0"/>
              </a:rPr>
              <a:t>: All infrastructure and operating costs are to be recovered from AK and future ESEL users, with no financial burden on City taxpayers.</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Project Cost Ceiling</a:t>
            </a:r>
            <a:r>
              <a:rPr lang="en-US" sz="1400" dirty="0">
                <a:latin typeface="GT Walsheim LC Light" pitchFamily="2" charset="0"/>
                <a:cs typeface="GT Walsheim LC Light" pitchFamily="2" charset="0"/>
              </a:rPr>
              <a:t>: A cap of $32.4 million is set for infrastructure costs; any overages will be covered through development charges or future users.</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Debt Management</a:t>
            </a:r>
            <a:r>
              <a:rPr lang="en-US" sz="1400" dirty="0">
                <a:latin typeface="GT Walsheim LC Light" pitchFamily="2" charset="0"/>
                <a:cs typeface="GT Walsheim LC Light" pitchFamily="2" charset="0"/>
              </a:rPr>
              <a:t>: Interim financing of up to $20 million approved; long-term debt impact limited to ~$8 million due to GBE structure.</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Rate Structure Resilience</a:t>
            </a:r>
            <a:r>
              <a:rPr lang="en-US" sz="1400" dirty="0">
                <a:latin typeface="GT Walsheim LC Light" pitchFamily="2" charset="0"/>
                <a:cs typeface="GT Walsheim LC Light" pitchFamily="2" charset="0"/>
              </a:rPr>
              <a:t>: Built-in contingencies for 15% water loss and 15% inflow/infiltration ensure full cost recovery and system sustainability.</a:t>
            </a:r>
          </a:p>
          <a:p>
            <a:r>
              <a:rPr lang="en-US" sz="1400" b="1" dirty="0">
                <a:latin typeface="GT Walsheim LC Light" pitchFamily="2" charset="0"/>
                <a:cs typeface="GT Walsheim LC Light" pitchFamily="2" charset="0"/>
              </a:rPr>
              <a:t>Governance &amp; Oversight</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GBE Structure</a:t>
            </a:r>
            <a:r>
              <a:rPr lang="en-US" sz="1400" dirty="0">
                <a:latin typeface="GT Walsheim LC Light" pitchFamily="2" charset="0"/>
                <a:cs typeface="GT Walsheim LC Light" pitchFamily="2" charset="0"/>
              </a:rPr>
              <a:t>: Enables off-balance-sheet financing and operational independence, reducing impact on City's borrowing capacity.</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Board Oversight</a:t>
            </a:r>
            <a:r>
              <a:rPr lang="en-US" sz="1400" dirty="0">
                <a:latin typeface="GT Walsheim LC Light" pitchFamily="2" charset="0"/>
                <a:cs typeface="GT Walsheim LC Light" pitchFamily="2" charset="0"/>
              </a:rPr>
              <a:t>: Council-appointed board members will oversee strategic and business plans for HOLDCO and District entities.</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Public Engagement</a:t>
            </a:r>
            <a:r>
              <a:rPr lang="en-US" sz="1400" dirty="0">
                <a:latin typeface="GT Walsheim LC Light" pitchFamily="2" charset="0"/>
                <a:cs typeface="GT Walsheim LC Light" pitchFamily="2" charset="0"/>
              </a:rPr>
              <a:t>: Formal consultation process underway to ensure transparency and community input on GBE establishment.</a:t>
            </a:r>
          </a:p>
          <a:p>
            <a:pPr marL="283464" indent="-283464">
              <a:buFont typeface="Arial" panose="020B0604020202020204" pitchFamily="34" charset="0"/>
              <a:buChar char="•"/>
            </a:pPr>
            <a:r>
              <a:rPr lang="en-US" sz="1400" b="1" dirty="0">
                <a:latin typeface="GT Walsheim LC Light" pitchFamily="2" charset="0"/>
                <a:cs typeface="GT Walsheim LC Light" pitchFamily="2" charset="0"/>
              </a:rPr>
              <a:t>City Guarantee:</a:t>
            </a:r>
            <a:r>
              <a:rPr lang="en-US" sz="1400" dirty="0">
                <a:latin typeface="GT Walsheim LC Light" pitchFamily="2" charset="0"/>
                <a:cs typeface="GT Walsheim LC Light" pitchFamily="2" charset="0"/>
              </a:rPr>
              <a:t> During the construction phase, the City will guarantee the debt; however, the GBE will operate as a standalone entity once construction is complete.</a:t>
            </a:r>
          </a:p>
        </p:txBody>
      </p:sp>
      <p:pic>
        <p:nvPicPr>
          <p:cNvPr id="5" name="Picture 4">
            <a:extLst>
              <a:ext uri="{FF2B5EF4-FFF2-40B4-BE49-F238E27FC236}">
                <a16:creationId xmlns:a16="http://schemas.microsoft.com/office/drawing/2014/main" id="{1532C40A-B9B8-D58A-2CBE-3A90C6ADC0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6" name="Footer Placeholder 5">
            <a:extLst>
              <a:ext uri="{FF2B5EF4-FFF2-40B4-BE49-F238E27FC236}">
                <a16:creationId xmlns:a16="http://schemas.microsoft.com/office/drawing/2014/main" id="{02CAEA39-FB17-7309-C0B5-D8959A628FE0}"/>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5844329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1A60C-7CB1-3A02-C493-B5B016E1CC2E}"/>
              </a:ext>
            </a:extLst>
          </p:cNvPr>
          <p:cNvSpPr>
            <a:spLocks noGrp="1"/>
          </p:cNvSpPr>
          <p:nvPr>
            <p:ph type="title"/>
          </p:nvPr>
        </p:nvSpPr>
        <p:spPr/>
        <p:txBody>
          <a:bodyPr/>
          <a:lstStyle/>
          <a:p>
            <a:r>
              <a:rPr lang="en-US"/>
              <a:t>Operational Oversight &amp; Sustainability</a:t>
            </a:r>
          </a:p>
        </p:txBody>
      </p:sp>
      <p:sp>
        <p:nvSpPr>
          <p:cNvPr id="4" name="Slide Number Placeholder 3">
            <a:extLst>
              <a:ext uri="{FF2B5EF4-FFF2-40B4-BE49-F238E27FC236}">
                <a16:creationId xmlns:a16="http://schemas.microsoft.com/office/drawing/2014/main" id="{BA2BFC6E-76B3-CEFD-8E4F-B7B529F21FAE}"/>
              </a:ext>
            </a:extLst>
          </p:cNvPr>
          <p:cNvSpPr>
            <a:spLocks noGrp="1"/>
          </p:cNvSpPr>
          <p:nvPr>
            <p:ph type="sldNum" sz="quarter" idx="4"/>
          </p:nvPr>
        </p:nvSpPr>
        <p:spPr/>
        <p:txBody>
          <a:bodyPr/>
          <a:lstStyle/>
          <a:p>
            <a:fld id="{1AB31D9B-80B6-41F8-B283-556E26E6158E}" type="slidenum">
              <a:rPr lang="en-GB" smtClean="0"/>
              <a:pPr/>
              <a:t>32</a:t>
            </a:fld>
            <a:endParaRPr lang="en-GB"/>
          </a:p>
        </p:txBody>
      </p:sp>
      <p:sp>
        <p:nvSpPr>
          <p:cNvPr id="6" name="TextBox 5">
            <a:extLst>
              <a:ext uri="{FF2B5EF4-FFF2-40B4-BE49-F238E27FC236}">
                <a16:creationId xmlns:a16="http://schemas.microsoft.com/office/drawing/2014/main" id="{7B7EF5CC-C72D-8A65-9D56-A091C16840CD}"/>
              </a:ext>
            </a:extLst>
          </p:cNvPr>
          <p:cNvSpPr txBox="1"/>
          <p:nvPr/>
        </p:nvSpPr>
        <p:spPr>
          <a:xfrm>
            <a:off x="381000" y="1612901"/>
            <a:ext cx="7934864" cy="4154984"/>
          </a:xfrm>
          <a:prstGeom prst="rect">
            <a:avLst/>
          </a:prstGeom>
          <a:noFill/>
        </p:spPr>
        <p:txBody>
          <a:bodyPr wrap="square">
            <a:spAutoFit/>
          </a:bodyPr>
          <a:lstStyle/>
          <a:p>
            <a:pPr>
              <a:buNone/>
            </a:pPr>
            <a:r>
              <a:rPr lang="en-US" sz="1400" dirty="0">
                <a:latin typeface="GT Walsheim LC Light" pitchFamily="2" charset="0"/>
                <a:cs typeface="GT Walsheim LC Light" pitchFamily="2" charset="0"/>
              </a:rPr>
              <a:t>The long-term operation and sustainability of the water and wastewater infrastructure will be supported through a coordinated governance and delivery model involving the City, the Niagara Region, and the newly established GBEs.</a:t>
            </a:r>
          </a:p>
          <a:p>
            <a:pPr>
              <a:buNone/>
            </a:pPr>
            <a:r>
              <a:rPr lang="en-US" sz="1400" b="1" dirty="0">
                <a:latin typeface="GT Walsheim LC Light" pitchFamily="2" charset="0"/>
                <a:cs typeface="GT Walsheim LC Light" pitchFamily="2" charset="0"/>
              </a:rPr>
              <a:t>Operational Responsibilitie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City will oversee initial design and construction phase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Niagara Region will assume ownership and operational responsibility for pumping stations and force mains once construction is complete and conditions are met.</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Shared service agreements will be used to procure maintenance and administrative support from the City.</a:t>
            </a:r>
          </a:p>
          <a:p>
            <a:r>
              <a:rPr lang="en-US" sz="1400" b="1" dirty="0">
                <a:latin typeface="GT Walsheim LC Light" pitchFamily="2" charset="0"/>
                <a:cs typeface="GT Walsheim LC Light" pitchFamily="2" charset="0"/>
              </a:rPr>
              <a:t>Sustainability Measures</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infrastructure is designed to support long-term industrial and residential growth across the ESEL, including future users beyond AK.</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The GBE structure enables off-balance-sheet financing, preserving the City’s borrowing capacity while maintaining financial independence.</a:t>
            </a:r>
          </a:p>
          <a:p>
            <a:pPr marL="285750" indent="-285750">
              <a:buFont typeface="Arial" panose="020B0604020202020204" pitchFamily="34" charset="0"/>
              <a:buChar char="•"/>
            </a:pPr>
            <a:r>
              <a:rPr lang="en-US" sz="1400" dirty="0">
                <a:latin typeface="GT Walsheim LC Light" pitchFamily="2" charset="0"/>
                <a:cs typeface="GT Walsheim LC Light" pitchFamily="2" charset="0"/>
              </a:rPr>
              <a:t>Built-in rate contingencies for water loss and inflow/infiltration ensure full cost recovery and system resilience.</a:t>
            </a:r>
          </a:p>
        </p:txBody>
      </p:sp>
      <p:sp>
        <p:nvSpPr>
          <p:cNvPr id="5" name="Footer Placeholder 5">
            <a:extLst>
              <a:ext uri="{FF2B5EF4-FFF2-40B4-BE49-F238E27FC236}">
                <a16:creationId xmlns:a16="http://schemas.microsoft.com/office/drawing/2014/main" id="{B3B49081-FE33-DBB2-022E-729DE49ECFB7}"/>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pic>
        <p:nvPicPr>
          <p:cNvPr id="7" name="Picture 6">
            <a:extLst>
              <a:ext uri="{FF2B5EF4-FFF2-40B4-BE49-F238E27FC236}">
                <a16:creationId xmlns:a16="http://schemas.microsoft.com/office/drawing/2014/main" id="{ECACF24C-7D0A-D7A2-52E5-EDB0CC3104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Tree>
    <p:extLst>
      <p:ext uri="{BB962C8B-B14F-4D97-AF65-F5344CB8AC3E}">
        <p14:creationId xmlns:p14="http://schemas.microsoft.com/office/powerpoint/2010/main" val="28584127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E401E-5D28-8D64-3D9D-8C00812D5579}"/>
              </a:ext>
            </a:extLst>
          </p:cNvPr>
          <p:cNvSpPr>
            <a:spLocks noGrp="1"/>
          </p:cNvSpPr>
          <p:nvPr>
            <p:ph type="title"/>
          </p:nvPr>
        </p:nvSpPr>
        <p:spPr/>
        <p:txBody>
          <a:bodyPr/>
          <a:lstStyle/>
          <a:p>
            <a:r>
              <a:rPr lang="en-US"/>
              <a:t>Appendix</a:t>
            </a:r>
          </a:p>
        </p:txBody>
      </p:sp>
      <p:sp>
        <p:nvSpPr>
          <p:cNvPr id="5" name="Slide Number Placeholder 4">
            <a:extLst>
              <a:ext uri="{FF2B5EF4-FFF2-40B4-BE49-F238E27FC236}">
                <a16:creationId xmlns:a16="http://schemas.microsoft.com/office/drawing/2014/main" id="{5A9A78F2-F798-0572-C50C-BF054367FDF1}"/>
              </a:ext>
            </a:extLst>
          </p:cNvPr>
          <p:cNvSpPr>
            <a:spLocks noGrp="1"/>
          </p:cNvSpPr>
          <p:nvPr>
            <p:ph type="sldNum" sz="quarter" idx="4"/>
          </p:nvPr>
        </p:nvSpPr>
        <p:spPr/>
        <p:txBody>
          <a:bodyPr/>
          <a:lstStyle/>
          <a:p>
            <a:fld id="{1AB31D9B-80B6-41F8-B283-556E26E6158E}" type="slidenum">
              <a:rPr lang="en-GB" smtClean="0"/>
              <a:pPr/>
              <a:t>33</a:t>
            </a:fld>
            <a:endParaRPr lang="en-GB"/>
          </a:p>
        </p:txBody>
      </p:sp>
      <p:sp>
        <p:nvSpPr>
          <p:cNvPr id="3" name="Footer Placeholder 5">
            <a:extLst>
              <a:ext uri="{FF2B5EF4-FFF2-40B4-BE49-F238E27FC236}">
                <a16:creationId xmlns:a16="http://schemas.microsoft.com/office/drawing/2014/main" id="{225E43D2-2AAA-ADB4-BD13-5EC3C397E5D5}"/>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5637751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E3E87-3F8B-E85A-050D-2EA2AE701157}"/>
              </a:ext>
            </a:extLst>
          </p:cNvPr>
          <p:cNvSpPr>
            <a:spLocks noGrp="1"/>
          </p:cNvSpPr>
          <p:nvPr>
            <p:ph type="title"/>
          </p:nvPr>
        </p:nvSpPr>
        <p:spPr/>
        <p:txBody>
          <a:bodyPr/>
          <a:lstStyle/>
          <a:p>
            <a:r>
              <a:rPr lang="en-US"/>
              <a:t>Appendix A: Structure </a:t>
            </a:r>
          </a:p>
        </p:txBody>
      </p:sp>
      <p:sp>
        <p:nvSpPr>
          <p:cNvPr id="4" name="Slide Number Placeholder 3">
            <a:extLst>
              <a:ext uri="{FF2B5EF4-FFF2-40B4-BE49-F238E27FC236}">
                <a16:creationId xmlns:a16="http://schemas.microsoft.com/office/drawing/2014/main" id="{D77D40EC-71FC-4AFE-6037-955D434E8F3D}"/>
              </a:ext>
            </a:extLst>
          </p:cNvPr>
          <p:cNvSpPr>
            <a:spLocks noGrp="1"/>
          </p:cNvSpPr>
          <p:nvPr>
            <p:ph type="sldNum" sz="quarter" idx="4"/>
          </p:nvPr>
        </p:nvSpPr>
        <p:spPr/>
        <p:txBody>
          <a:bodyPr/>
          <a:lstStyle/>
          <a:p>
            <a:fld id="{1AB31D9B-80B6-41F8-B283-556E26E6158E}" type="slidenum">
              <a:rPr lang="en-GB" smtClean="0"/>
              <a:pPr/>
              <a:t>34</a:t>
            </a:fld>
            <a:endParaRPr lang="en-GB"/>
          </a:p>
        </p:txBody>
      </p:sp>
      <p:sp>
        <p:nvSpPr>
          <p:cNvPr id="5" name="Rectangle 4">
            <a:extLst>
              <a:ext uri="{FF2B5EF4-FFF2-40B4-BE49-F238E27FC236}">
                <a16:creationId xmlns:a16="http://schemas.microsoft.com/office/drawing/2014/main" id="{3B2F7D0D-A780-C4DF-FD29-586FA3A19053}"/>
              </a:ext>
            </a:extLst>
          </p:cNvPr>
          <p:cNvSpPr/>
          <p:nvPr/>
        </p:nvSpPr>
        <p:spPr>
          <a:xfrm>
            <a:off x="3918857" y="1836965"/>
            <a:ext cx="1142347" cy="4398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Region</a:t>
            </a:r>
            <a:endParaRPr lang="en-CA" sz="675"/>
          </a:p>
        </p:txBody>
      </p:sp>
      <p:sp>
        <p:nvSpPr>
          <p:cNvPr id="6" name="Rectangle 5">
            <a:extLst>
              <a:ext uri="{FF2B5EF4-FFF2-40B4-BE49-F238E27FC236}">
                <a16:creationId xmlns:a16="http://schemas.microsoft.com/office/drawing/2014/main" id="{423E2877-8902-354A-8F8E-A4FC8F340627}"/>
              </a:ext>
            </a:extLst>
          </p:cNvPr>
          <p:cNvSpPr/>
          <p:nvPr/>
        </p:nvSpPr>
        <p:spPr>
          <a:xfrm>
            <a:off x="3918857" y="2631966"/>
            <a:ext cx="1142347" cy="4398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City</a:t>
            </a:r>
            <a:endParaRPr lang="en-CA" sz="675"/>
          </a:p>
        </p:txBody>
      </p:sp>
      <p:sp>
        <p:nvSpPr>
          <p:cNvPr id="7" name="Arrow: Down 6">
            <a:extLst>
              <a:ext uri="{FF2B5EF4-FFF2-40B4-BE49-F238E27FC236}">
                <a16:creationId xmlns:a16="http://schemas.microsoft.com/office/drawing/2014/main" id="{344C24B2-E373-F890-75C7-B954AA9AE750}"/>
              </a:ext>
            </a:extLst>
          </p:cNvPr>
          <p:cNvSpPr/>
          <p:nvPr/>
        </p:nvSpPr>
        <p:spPr>
          <a:xfrm>
            <a:off x="4149090" y="2321856"/>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8" name="Arrow: Down 7">
            <a:extLst>
              <a:ext uri="{FF2B5EF4-FFF2-40B4-BE49-F238E27FC236}">
                <a16:creationId xmlns:a16="http://schemas.microsoft.com/office/drawing/2014/main" id="{049AC517-FF42-BD01-97B5-FC4DB7DB2475}"/>
              </a:ext>
            </a:extLst>
          </p:cNvPr>
          <p:cNvSpPr/>
          <p:nvPr/>
        </p:nvSpPr>
        <p:spPr>
          <a:xfrm rot="10800000">
            <a:off x="4709160" y="2352290"/>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9" name="TextBox 8">
            <a:extLst>
              <a:ext uri="{FF2B5EF4-FFF2-40B4-BE49-F238E27FC236}">
                <a16:creationId xmlns:a16="http://schemas.microsoft.com/office/drawing/2014/main" id="{38A01470-750A-3A80-6EF3-F2655DEA6E87}"/>
              </a:ext>
            </a:extLst>
          </p:cNvPr>
          <p:cNvSpPr txBox="1"/>
          <p:nvPr/>
        </p:nvSpPr>
        <p:spPr>
          <a:xfrm>
            <a:off x="4791457" y="2347279"/>
            <a:ext cx="793807" cy="230832"/>
          </a:xfrm>
          <a:prstGeom prst="rect">
            <a:avLst/>
          </a:prstGeom>
          <a:noFill/>
        </p:spPr>
        <p:txBody>
          <a:bodyPr wrap="none" rtlCol="0">
            <a:spAutoFit/>
          </a:bodyPr>
          <a:lstStyle/>
          <a:p>
            <a:r>
              <a:rPr lang="en-US"/>
              <a:t>Wastewater</a:t>
            </a:r>
            <a:endParaRPr lang="en-CA"/>
          </a:p>
        </p:txBody>
      </p:sp>
      <p:sp>
        <p:nvSpPr>
          <p:cNvPr id="10" name="TextBox 9">
            <a:extLst>
              <a:ext uri="{FF2B5EF4-FFF2-40B4-BE49-F238E27FC236}">
                <a16:creationId xmlns:a16="http://schemas.microsoft.com/office/drawing/2014/main" id="{F27AF3C2-9FFE-4F76-DCF5-DC8C7364F445}"/>
              </a:ext>
            </a:extLst>
          </p:cNvPr>
          <p:cNvSpPr txBox="1"/>
          <p:nvPr/>
        </p:nvSpPr>
        <p:spPr>
          <a:xfrm>
            <a:off x="3223694" y="2334567"/>
            <a:ext cx="947695" cy="230832"/>
          </a:xfrm>
          <a:prstGeom prst="rect">
            <a:avLst/>
          </a:prstGeom>
          <a:noFill/>
        </p:spPr>
        <p:txBody>
          <a:bodyPr wrap="none" rtlCol="0">
            <a:spAutoFit/>
          </a:bodyPr>
          <a:lstStyle/>
          <a:p>
            <a:r>
              <a:rPr lang="en-US"/>
              <a:t>Drinking Water</a:t>
            </a:r>
            <a:endParaRPr lang="en-CA"/>
          </a:p>
        </p:txBody>
      </p:sp>
      <p:sp>
        <p:nvSpPr>
          <p:cNvPr id="11" name="Rectangle 10">
            <a:extLst>
              <a:ext uri="{FF2B5EF4-FFF2-40B4-BE49-F238E27FC236}">
                <a16:creationId xmlns:a16="http://schemas.microsoft.com/office/drawing/2014/main" id="{38FBBA1F-A214-816A-9867-8D5610FF6A80}"/>
              </a:ext>
            </a:extLst>
          </p:cNvPr>
          <p:cNvSpPr/>
          <p:nvPr/>
        </p:nvSpPr>
        <p:spPr>
          <a:xfrm>
            <a:off x="907815" y="2624581"/>
            <a:ext cx="13413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Contractor (s)</a:t>
            </a:r>
            <a:endParaRPr lang="en-CA" sz="675"/>
          </a:p>
        </p:txBody>
      </p:sp>
      <p:sp>
        <p:nvSpPr>
          <p:cNvPr id="12" name="Rectangle 11">
            <a:extLst>
              <a:ext uri="{FF2B5EF4-FFF2-40B4-BE49-F238E27FC236}">
                <a16:creationId xmlns:a16="http://schemas.microsoft.com/office/drawing/2014/main" id="{69227103-9475-C253-61C8-E5505F858A32}"/>
              </a:ext>
            </a:extLst>
          </p:cNvPr>
          <p:cNvSpPr/>
          <p:nvPr/>
        </p:nvSpPr>
        <p:spPr>
          <a:xfrm>
            <a:off x="7139870" y="2625325"/>
            <a:ext cx="1142347"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AK</a:t>
            </a:r>
            <a:endParaRPr lang="en-CA" sz="675"/>
          </a:p>
        </p:txBody>
      </p:sp>
      <p:sp>
        <p:nvSpPr>
          <p:cNvPr id="13" name="Rectangle 12">
            <a:extLst>
              <a:ext uri="{FF2B5EF4-FFF2-40B4-BE49-F238E27FC236}">
                <a16:creationId xmlns:a16="http://schemas.microsoft.com/office/drawing/2014/main" id="{3218115A-43A9-3F63-447C-272EEA9E0D07}"/>
              </a:ext>
            </a:extLst>
          </p:cNvPr>
          <p:cNvSpPr/>
          <p:nvPr/>
        </p:nvSpPr>
        <p:spPr>
          <a:xfrm>
            <a:off x="6833182" y="3566197"/>
            <a:ext cx="14490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One Forty Developments</a:t>
            </a:r>
            <a:endParaRPr lang="en-CA" sz="675"/>
          </a:p>
        </p:txBody>
      </p:sp>
      <p:cxnSp>
        <p:nvCxnSpPr>
          <p:cNvPr id="14" name="Connector: Elbow 13">
            <a:extLst>
              <a:ext uri="{FF2B5EF4-FFF2-40B4-BE49-F238E27FC236}">
                <a16:creationId xmlns:a16="http://schemas.microsoft.com/office/drawing/2014/main" id="{B1A0FD06-A5F4-090D-F441-7C43C2A26674}"/>
              </a:ext>
            </a:extLst>
          </p:cNvPr>
          <p:cNvCxnSpPr>
            <a:cxnSpLocks/>
          </p:cNvCxnSpPr>
          <p:nvPr/>
        </p:nvCxnSpPr>
        <p:spPr>
          <a:xfrm rot="10800000">
            <a:off x="4466931" y="3074485"/>
            <a:ext cx="2366251" cy="711659"/>
          </a:xfrm>
          <a:prstGeom prst="bentConnector2">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Straight Connector 14">
            <a:extLst>
              <a:ext uri="{FF2B5EF4-FFF2-40B4-BE49-F238E27FC236}">
                <a16:creationId xmlns:a16="http://schemas.microsoft.com/office/drawing/2014/main" id="{EB755BAC-6B05-6126-5F5C-9871A024589A}"/>
              </a:ext>
            </a:extLst>
          </p:cNvPr>
          <p:cNvCxnSpPr>
            <a:cxnSpLocks/>
          </p:cNvCxnSpPr>
          <p:nvPr/>
        </p:nvCxnSpPr>
        <p:spPr>
          <a:xfrm flipV="1">
            <a:off x="5057745" y="2845272"/>
            <a:ext cx="2067783" cy="1328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Box 15">
            <a:extLst>
              <a:ext uri="{FF2B5EF4-FFF2-40B4-BE49-F238E27FC236}">
                <a16:creationId xmlns:a16="http://schemas.microsoft.com/office/drawing/2014/main" id="{479899F5-9877-4D89-05A4-CC5352558FF1}"/>
              </a:ext>
            </a:extLst>
          </p:cNvPr>
          <p:cNvSpPr txBox="1"/>
          <p:nvPr/>
        </p:nvSpPr>
        <p:spPr>
          <a:xfrm>
            <a:off x="5307613" y="2976711"/>
            <a:ext cx="793807" cy="230832"/>
          </a:xfrm>
          <a:prstGeom prst="rect">
            <a:avLst/>
          </a:prstGeom>
          <a:noFill/>
        </p:spPr>
        <p:txBody>
          <a:bodyPr wrap="none" rtlCol="0">
            <a:spAutoFit/>
          </a:bodyPr>
          <a:lstStyle/>
          <a:p>
            <a:r>
              <a:rPr lang="en-US"/>
              <a:t>Wastewater</a:t>
            </a:r>
            <a:endParaRPr lang="en-CA"/>
          </a:p>
        </p:txBody>
      </p:sp>
      <p:sp>
        <p:nvSpPr>
          <p:cNvPr id="17" name="TextBox 16">
            <a:extLst>
              <a:ext uri="{FF2B5EF4-FFF2-40B4-BE49-F238E27FC236}">
                <a16:creationId xmlns:a16="http://schemas.microsoft.com/office/drawing/2014/main" id="{FA98E444-E29E-F4F3-EDCD-605E565F2D8D}"/>
              </a:ext>
            </a:extLst>
          </p:cNvPr>
          <p:cNvSpPr txBox="1"/>
          <p:nvPr/>
        </p:nvSpPr>
        <p:spPr>
          <a:xfrm>
            <a:off x="5202434" y="2508245"/>
            <a:ext cx="947695" cy="230832"/>
          </a:xfrm>
          <a:prstGeom prst="rect">
            <a:avLst/>
          </a:prstGeom>
          <a:noFill/>
        </p:spPr>
        <p:txBody>
          <a:bodyPr wrap="none" rtlCol="0">
            <a:spAutoFit/>
          </a:bodyPr>
          <a:lstStyle/>
          <a:p>
            <a:r>
              <a:rPr lang="en-US"/>
              <a:t>Drinking Water</a:t>
            </a:r>
            <a:endParaRPr lang="en-CA"/>
          </a:p>
        </p:txBody>
      </p:sp>
      <p:sp>
        <p:nvSpPr>
          <p:cNvPr id="18" name="Arrow: Down 17">
            <a:extLst>
              <a:ext uri="{FF2B5EF4-FFF2-40B4-BE49-F238E27FC236}">
                <a16:creationId xmlns:a16="http://schemas.microsoft.com/office/drawing/2014/main" id="{54C70996-AB35-E333-60F7-5BB8379FFE89}"/>
              </a:ext>
            </a:extLst>
          </p:cNvPr>
          <p:cNvSpPr/>
          <p:nvPr/>
        </p:nvSpPr>
        <p:spPr>
          <a:xfrm rot="5400000">
            <a:off x="5567562" y="2851593"/>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19" name="Arrow: Down 18">
            <a:extLst>
              <a:ext uri="{FF2B5EF4-FFF2-40B4-BE49-F238E27FC236}">
                <a16:creationId xmlns:a16="http://schemas.microsoft.com/office/drawing/2014/main" id="{2037F47D-FDC7-37DA-A57D-B0F6F31A15AB}"/>
              </a:ext>
            </a:extLst>
          </p:cNvPr>
          <p:cNvSpPr/>
          <p:nvPr/>
        </p:nvSpPr>
        <p:spPr>
          <a:xfrm rot="16200000">
            <a:off x="5567561" y="2629519"/>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20" name="Right Brace 19">
            <a:extLst>
              <a:ext uri="{FF2B5EF4-FFF2-40B4-BE49-F238E27FC236}">
                <a16:creationId xmlns:a16="http://schemas.microsoft.com/office/drawing/2014/main" id="{680AF311-8245-5E0D-64DD-5F836FE81917}"/>
              </a:ext>
            </a:extLst>
          </p:cNvPr>
          <p:cNvSpPr/>
          <p:nvPr/>
        </p:nvSpPr>
        <p:spPr>
          <a:xfrm>
            <a:off x="6050173" y="2567233"/>
            <a:ext cx="184511" cy="588216"/>
          </a:xfrm>
          <a:prstGeom prst="rightBrace">
            <a:avLst>
              <a:gd name="adj1" fmla="val 8333"/>
              <a:gd name="adj2" fmla="val 17609"/>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CA" sz="675"/>
          </a:p>
        </p:txBody>
      </p:sp>
      <p:sp>
        <p:nvSpPr>
          <p:cNvPr id="21" name="TextBox 20">
            <a:extLst>
              <a:ext uri="{FF2B5EF4-FFF2-40B4-BE49-F238E27FC236}">
                <a16:creationId xmlns:a16="http://schemas.microsoft.com/office/drawing/2014/main" id="{33303F05-6EDF-A8BC-EC4E-2C9FD0DFD03E}"/>
              </a:ext>
            </a:extLst>
          </p:cNvPr>
          <p:cNvSpPr txBox="1"/>
          <p:nvPr/>
        </p:nvSpPr>
        <p:spPr>
          <a:xfrm>
            <a:off x="6234684" y="2207888"/>
            <a:ext cx="825867" cy="877163"/>
          </a:xfrm>
          <a:prstGeom prst="rect">
            <a:avLst/>
          </a:prstGeom>
          <a:noFill/>
        </p:spPr>
        <p:txBody>
          <a:bodyPr wrap="none" rtlCol="0">
            <a:spAutoFit/>
          </a:bodyPr>
          <a:lstStyle/>
          <a:p>
            <a:r>
              <a:rPr lang="en-US">
                <a:solidFill>
                  <a:schemeClr val="accent3">
                    <a:lumMod val="75000"/>
                  </a:schemeClr>
                </a:solidFill>
              </a:rPr>
              <a:t>Water and </a:t>
            </a:r>
          </a:p>
          <a:p>
            <a:r>
              <a:rPr lang="en-US">
                <a:solidFill>
                  <a:schemeClr val="accent3">
                    <a:lumMod val="75000"/>
                  </a:schemeClr>
                </a:solidFill>
              </a:rPr>
              <a:t>Wastewater </a:t>
            </a:r>
          </a:p>
          <a:p>
            <a:r>
              <a:rPr lang="en-US">
                <a:solidFill>
                  <a:schemeClr val="accent3">
                    <a:lumMod val="75000"/>
                  </a:schemeClr>
                </a:solidFill>
              </a:rPr>
              <a:t>Purchase </a:t>
            </a:r>
          </a:p>
          <a:p>
            <a:r>
              <a:rPr lang="en-US">
                <a:solidFill>
                  <a:schemeClr val="accent3">
                    <a:lumMod val="75000"/>
                  </a:schemeClr>
                </a:solidFill>
              </a:rPr>
              <a:t>Agreement</a:t>
            </a:r>
            <a:endParaRPr lang="en-CA">
              <a:solidFill>
                <a:schemeClr val="accent3">
                  <a:lumMod val="75000"/>
                </a:schemeClr>
              </a:solidFill>
            </a:endParaRPr>
          </a:p>
        </p:txBody>
      </p:sp>
      <p:sp>
        <p:nvSpPr>
          <p:cNvPr id="22" name="TextBox 21">
            <a:extLst>
              <a:ext uri="{FF2B5EF4-FFF2-40B4-BE49-F238E27FC236}">
                <a16:creationId xmlns:a16="http://schemas.microsoft.com/office/drawing/2014/main" id="{E24C49C3-AD7B-D328-D6FE-6E954E7396CC}"/>
              </a:ext>
            </a:extLst>
          </p:cNvPr>
          <p:cNvSpPr txBox="1"/>
          <p:nvPr/>
        </p:nvSpPr>
        <p:spPr>
          <a:xfrm>
            <a:off x="4928674" y="3544580"/>
            <a:ext cx="1653018" cy="661720"/>
          </a:xfrm>
          <a:prstGeom prst="rect">
            <a:avLst/>
          </a:prstGeom>
          <a:noFill/>
        </p:spPr>
        <p:txBody>
          <a:bodyPr wrap="none" rtlCol="0">
            <a:spAutoFit/>
          </a:bodyPr>
          <a:lstStyle/>
          <a:p>
            <a:pPr algn="ctr"/>
            <a:r>
              <a:rPr lang="en-US">
                <a:solidFill>
                  <a:schemeClr val="accent3">
                    <a:lumMod val="75000"/>
                  </a:schemeClr>
                </a:solidFill>
              </a:rPr>
              <a:t>Asset Transfer Agreement </a:t>
            </a:r>
          </a:p>
          <a:p>
            <a:pPr algn="ctr"/>
            <a:endParaRPr lang="en-US">
              <a:solidFill>
                <a:schemeClr val="accent3">
                  <a:lumMod val="75000"/>
                </a:schemeClr>
              </a:solidFill>
            </a:endParaRPr>
          </a:p>
          <a:p>
            <a:pPr algn="ctr"/>
            <a:r>
              <a:rPr lang="en-US">
                <a:solidFill>
                  <a:schemeClr val="accent3">
                    <a:lumMod val="75000"/>
                  </a:schemeClr>
                </a:solidFill>
              </a:rPr>
              <a:t>(Pipes and Pumping Station)</a:t>
            </a:r>
            <a:endParaRPr lang="en-CA">
              <a:solidFill>
                <a:schemeClr val="accent3">
                  <a:lumMod val="75000"/>
                </a:schemeClr>
              </a:solidFill>
            </a:endParaRPr>
          </a:p>
        </p:txBody>
      </p:sp>
      <p:cxnSp>
        <p:nvCxnSpPr>
          <p:cNvPr id="23" name="Straight Connector 22">
            <a:extLst>
              <a:ext uri="{FF2B5EF4-FFF2-40B4-BE49-F238E27FC236}">
                <a16:creationId xmlns:a16="http://schemas.microsoft.com/office/drawing/2014/main" id="{D94A19D1-289F-51E5-0484-292A8C9A3543}"/>
              </a:ext>
            </a:extLst>
          </p:cNvPr>
          <p:cNvCxnSpPr>
            <a:cxnSpLocks/>
            <a:stCxn id="6" idx="1"/>
            <a:endCxn id="11" idx="3"/>
          </p:cNvCxnSpPr>
          <p:nvPr/>
        </p:nvCxnSpPr>
        <p:spPr>
          <a:xfrm flipH="1" flipV="1">
            <a:off x="2249150" y="2844527"/>
            <a:ext cx="1669707" cy="7385"/>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4" name="TextBox 23">
            <a:extLst>
              <a:ext uri="{FF2B5EF4-FFF2-40B4-BE49-F238E27FC236}">
                <a16:creationId xmlns:a16="http://schemas.microsoft.com/office/drawing/2014/main" id="{DFAB0D67-019F-59A3-94A6-0D032FD4BD9A}"/>
              </a:ext>
            </a:extLst>
          </p:cNvPr>
          <p:cNvSpPr txBox="1"/>
          <p:nvPr/>
        </p:nvSpPr>
        <p:spPr>
          <a:xfrm>
            <a:off x="2675719" y="2885470"/>
            <a:ext cx="864339" cy="446276"/>
          </a:xfrm>
          <a:prstGeom prst="rect">
            <a:avLst/>
          </a:prstGeom>
          <a:noFill/>
        </p:spPr>
        <p:txBody>
          <a:bodyPr wrap="none" rtlCol="0">
            <a:spAutoFit/>
          </a:bodyPr>
          <a:lstStyle/>
          <a:p>
            <a:r>
              <a:rPr lang="en-US">
                <a:solidFill>
                  <a:schemeClr val="accent3">
                    <a:lumMod val="75000"/>
                  </a:schemeClr>
                </a:solidFill>
              </a:rPr>
              <a:t>Construction </a:t>
            </a:r>
          </a:p>
          <a:p>
            <a:r>
              <a:rPr lang="en-US">
                <a:solidFill>
                  <a:schemeClr val="accent3">
                    <a:lumMod val="75000"/>
                  </a:schemeClr>
                </a:solidFill>
              </a:rPr>
              <a:t>Agreement</a:t>
            </a:r>
          </a:p>
        </p:txBody>
      </p:sp>
      <p:sp>
        <p:nvSpPr>
          <p:cNvPr id="25" name="Rectangle 24">
            <a:extLst>
              <a:ext uri="{FF2B5EF4-FFF2-40B4-BE49-F238E27FC236}">
                <a16:creationId xmlns:a16="http://schemas.microsoft.com/office/drawing/2014/main" id="{93E5B3B3-8308-1891-7F9A-72B56B20C112}"/>
              </a:ext>
            </a:extLst>
          </p:cNvPr>
          <p:cNvSpPr/>
          <p:nvPr/>
        </p:nvSpPr>
        <p:spPr>
          <a:xfrm>
            <a:off x="557087" y="4214583"/>
            <a:ext cx="2983230" cy="755160"/>
          </a:xfrm>
          <a:prstGeom prst="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a:t>City is currently self-financing the project (reimbursed once financing established through the GBE)</a:t>
            </a:r>
            <a:endParaRPr lang="en-CA" sz="675"/>
          </a:p>
        </p:txBody>
      </p:sp>
      <p:pic>
        <p:nvPicPr>
          <p:cNvPr id="26" name="Picture 25">
            <a:extLst>
              <a:ext uri="{FF2B5EF4-FFF2-40B4-BE49-F238E27FC236}">
                <a16:creationId xmlns:a16="http://schemas.microsoft.com/office/drawing/2014/main" id="{C42AFB0D-79D1-1ACB-ED69-702BD1991E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27" name="Title 1">
            <a:extLst>
              <a:ext uri="{FF2B5EF4-FFF2-40B4-BE49-F238E27FC236}">
                <a16:creationId xmlns:a16="http://schemas.microsoft.com/office/drawing/2014/main" id="{5F1C8169-05ED-CCD5-0F8C-5BAEFDA21071}"/>
              </a:ext>
            </a:extLst>
          </p:cNvPr>
          <p:cNvSpPr txBox="1">
            <a:spLocks/>
          </p:cNvSpPr>
          <p:nvPr/>
        </p:nvSpPr>
        <p:spPr>
          <a:xfrm>
            <a:off x="3337560" y="1055970"/>
            <a:ext cx="2468880" cy="346249"/>
          </a:xfrm>
          <a:prstGeom prst="rect">
            <a:avLst/>
          </a:prstGeom>
        </p:spPr>
        <p:txBody>
          <a:bodyPr vert="horz" wrap="square" lIns="0" tIns="0" rIns="0" bIns="0" rtlCol="0" anchor="t" anchorCtr="0">
            <a:spAutoFit/>
          </a:bodyPr>
          <a:lstStyle>
            <a:lvl1pPr algn="l" defTabSz="552479" rtl="0" eaLnBrk="1" latinLnBrk="0" hangingPunct="1">
              <a:lnSpc>
                <a:spcPts val="2700"/>
              </a:lnSpc>
              <a:spcBef>
                <a:spcPct val="0"/>
              </a:spcBef>
              <a:buNone/>
              <a:defRPr sz="2250" b="0" kern="1200">
                <a:solidFill>
                  <a:schemeClr val="accent1"/>
                </a:solidFill>
                <a:latin typeface="GT Walsheim LC Bold" pitchFamily="2" charset="0"/>
                <a:ea typeface="+mj-ea"/>
                <a:cs typeface="GT Walsheim LC Bold" pitchFamily="2" charset="0"/>
              </a:defRPr>
            </a:lvl1pPr>
          </a:lstStyle>
          <a:p>
            <a:pPr>
              <a:spcAft>
                <a:spcPts val="0"/>
              </a:spcAft>
              <a:buFontTx/>
            </a:pPr>
            <a:r>
              <a:rPr lang="en-US">
                <a:solidFill>
                  <a:schemeClr val="accent2"/>
                </a:solidFill>
              </a:rPr>
              <a:t>Current structure</a:t>
            </a:r>
          </a:p>
        </p:txBody>
      </p:sp>
      <p:sp>
        <p:nvSpPr>
          <p:cNvPr id="28" name="Footer Placeholder 5">
            <a:extLst>
              <a:ext uri="{FF2B5EF4-FFF2-40B4-BE49-F238E27FC236}">
                <a16:creationId xmlns:a16="http://schemas.microsoft.com/office/drawing/2014/main" id="{462AA951-5C1F-E468-D1AD-8C8582824B91}"/>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7763629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FC2DD-F56C-E44B-56B0-466778B98087}"/>
              </a:ext>
            </a:extLst>
          </p:cNvPr>
          <p:cNvSpPr>
            <a:spLocks noGrp="1"/>
          </p:cNvSpPr>
          <p:nvPr>
            <p:ph type="title"/>
          </p:nvPr>
        </p:nvSpPr>
        <p:spPr/>
        <p:txBody>
          <a:bodyPr/>
          <a:lstStyle/>
          <a:p>
            <a:r>
              <a:rPr lang="en-US"/>
              <a:t>Appendix A: Structure </a:t>
            </a:r>
          </a:p>
        </p:txBody>
      </p:sp>
      <p:sp>
        <p:nvSpPr>
          <p:cNvPr id="4" name="Slide Number Placeholder 3">
            <a:extLst>
              <a:ext uri="{FF2B5EF4-FFF2-40B4-BE49-F238E27FC236}">
                <a16:creationId xmlns:a16="http://schemas.microsoft.com/office/drawing/2014/main" id="{4AD70D41-5ABA-8EA0-EB84-70BA64BD2C03}"/>
              </a:ext>
            </a:extLst>
          </p:cNvPr>
          <p:cNvSpPr>
            <a:spLocks noGrp="1"/>
          </p:cNvSpPr>
          <p:nvPr>
            <p:ph type="sldNum" sz="quarter" idx="4"/>
          </p:nvPr>
        </p:nvSpPr>
        <p:spPr/>
        <p:txBody>
          <a:bodyPr/>
          <a:lstStyle/>
          <a:p>
            <a:fld id="{1AB31D9B-80B6-41F8-B283-556E26E6158E}" type="slidenum">
              <a:rPr lang="en-GB" smtClean="0"/>
              <a:pPr/>
              <a:t>35</a:t>
            </a:fld>
            <a:endParaRPr lang="en-GB"/>
          </a:p>
        </p:txBody>
      </p:sp>
      <p:sp>
        <p:nvSpPr>
          <p:cNvPr id="5" name="Rectangle 4">
            <a:extLst>
              <a:ext uri="{FF2B5EF4-FFF2-40B4-BE49-F238E27FC236}">
                <a16:creationId xmlns:a16="http://schemas.microsoft.com/office/drawing/2014/main" id="{7CD58051-7544-1B14-374B-B31479B18866}"/>
              </a:ext>
            </a:extLst>
          </p:cNvPr>
          <p:cNvSpPr/>
          <p:nvPr/>
        </p:nvSpPr>
        <p:spPr>
          <a:xfrm>
            <a:off x="3918857" y="1836965"/>
            <a:ext cx="1142347" cy="4398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Region</a:t>
            </a:r>
            <a:endParaRPr lang="en-CA" sz="675"/>
          </a:p>
        </p:txBody>
      </p:sp>
      <p:sp>
        <p:nvSpPr>
          <p:cNvPr id="6" name="Rectangle 5">
            <a:extLst>
              <a:ext uri="{FF2B5EF4-FFF2-40B4-BE49-F238E27FC236}">
                <a16:creationId xmlns:a16="http://schemas.microsoft.com/office/drawing/2014/main" id="{81241B73-DA57-71AC-7429-C19AF73BFC82}"/>
              </a:ext>
            </a:extLst>
          </p:cNvPr>
          <p:cNvSpPr/>
          <p:nvPr/>
        </p:nvSpPr>
        <p:spPr>
          <a:xfrm>
            <a:off x="3918857" y="2631966"/>
            <a:ext cx="1142347" cy="4398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City</a:t>
            </a:r>
            <a:endParaRPr lang="en-CA" sz="675"/>
          </a:p>
        </p:txBody>
      </p:sp>
      <p:sp>
        <p:nvSpPr>
          <p:cNvPr id="7" name="Arrow: Down 6">
            <a:extLst>
              <a:ext uri="{FF2B5EF4-FFF2-40B4-BE49-F238E27FC236}">
                <a16:creationId xmlns:a16="http://schemas.microsoft.com/office/drawing/2014/main" id="{E8D0C47E-150E-85F2-A1E8-87EBABC042E8}"/>
              </a:ext>
            </a:extLst>
          </p:cNvPr>
          <p:cNvSpPr/>
          <p:nvPr/>
        </p:nvSpPr>
        <p:spPr>
          <a:xfrm>
            <a:off x="4149090" y="2321856"/>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8" name="Arrow: Down 7">
            <a:extLst>
              <a:ext uri="{FF2B5EF4-FFF2-40B4-BE49-F238E27FC236}">
                <a16:creationId xmlns:a16="http://schemas.microsoft.com/office/drawing/2014/main" id="{31C7540D-7772-E0F2-DAA3-3167312C5A02}"/>
              </a:ext>
            </a:extLst>
          </p:cNvPr>
          <p:cNvSpPr/>
          <p:nvPr/>
        </p:nvSpPr>
        <p:spPr>
          <a:xfrm rot="10800000">
            <a:off x="4709160" y="2352290"/>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9" name="TextBox 8">
            <a:extLst>
              <a:ext uri="{FF2B5EF4-FFF2-40B4-BE49-F238E27FC236}">
                <a16:creationId xmlns:a16="http://schemas.microsoft.com/office/drawing/2014/main" id="{89614ECA-24E9-BD3D-1F9B-577A7E3A0589}"/>
              </a:ext>
            </a:extLst>
          </p:cNvPr>
          <p:cNvSpPr txBox="1"/>
          <p:nvPr/>
        </p:nvSpPr>
        <p:spPr>
          <a:xfrm>
            <a:off x="4791457" y="2347279"/>
            <a:ext cx="793807" cy="230832"/>
          </a:xfrm>
          <a:prstGeom prst="rect">
            <a:avLst/>
          </a:prstGeom>
          <a:noFill/>
        </p:spPr>
        <p:txBody>
          <a:bodyPr wrap="none" rtlCol="0">
            <a:spAutoFit/>
          </a:bodyPr>
          <a:lstStyle/>
          <a:p>
            <a:r>
              <a:rPr lang="en-US"/>
              <a:t>Wastewater</a:t>
            </a:r>
            <a:endParaRPr lang="en-CA"/>
          </a:p>
        </p:txBody>
      </p:sp>
      <p:sp>
        <p:nvSpPr>
          <p:cNvPr id="10" name="TextBox 9">
            <a:extLst>
              <a:ext uri="{FF2B5EF4-FFF2-40B4-BE49-F238E27FC236}">
                <a16:creationId xmlns:a16="http://schemas.microsoft.com/office/drawing/2014/main" id="{36956AB7-A428-60C9-C0EC-C6193D3C1DC1}"/>
              </a:ext>
            </a:extLst>
          </p:cNvPr>
          <p:cNvSpPr txBox="1"/>
          <p:nvPr/>
        </p:nvSpPr>
        <p:spPr>
          <a:xfrm>
            <a:off x="3223694" y="2334567"/>
            <a:ext cx="947695" cy="230832"/>
          </a:xfrm>
          <a:prstGeom prst="rect">
            <a:avLst/>
          </a:prstGeom>
          <a:noFill/>
        </p:spPr>
        <p:txBody>
          <a:bodyPr wrap="none" rtlCol="0">
            <a:spAutoFit/>
          </a:bodyPr>
          <a:lstStyle/>
          <a:p>
            <a:r>
              <a:rPr lang="en-US"/>
              <a:t>Drinking Water</a:t>
            </a:r>
            <a:endParaRPr lang="en-CA"/>
          </a:p>
        </p:txBody>
      </p:sp>
      <p:sp>
        <p:nvSpPr>
          <p:cNvPr id="11" name="Rectangle 10">
            <a:extLst>
              <a:ext uri="{FF2B5EF4-FFF2-40B4-BE49-F238E27FC236}">
                <a16:creationId xmlns:a16="http://schemas.microsoft.com/office/drawing/2014/main" id="{1409A719-3C42-7574-6C21-3680DE2C7A0A}"/>
              </a:ext>
            </a:extLst>
          </p:cNvPr>
          <p:cNvSpPr/>
          <p:nvPr/>
        </p:nvSpPr>
        <p:spPr>
          <a:xfrm>
            <a:off x="992564" y="3013882"/>
            <a:ext cx="13413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Contractor (s)</a:t>
            </a:r>
            <a:endParaRPr lang="en-CA" sz="675"/>
          </a:p>
        </p:txBody>
      </p:sp>
      <p:sp>
        <p:nvSpPr>
          <p:cNvPr id="12" name="Rectangle 11">
            <a:extLst>
              <a:ext uri="{FF2B5EF4-FFF2-40B4-BE49-F238E27FC236}">
                <a16:creationId xmlns:a16="http://schemas.microsoft.com/office/drawing/2014/main" id="{5A96A86E-72C5-3278-6D83-7FCDAEFFC14D}"/>
              </a:ext>
            </a:extLst>
          </p:cNvPr>
          <p:cNvSpPr/>
          <p:nvPr/>
        </p:nvSpPr>
        <p:spPr>
          <a:xfrm>
            <a:off x="992564" y="3857084"/>
            <a:ext cx="13413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a:t>Lenders</a:t>
            </a:r>
            <a:endParaRPr lang="en-CA" sz="675"/>
          </a:p>
        </p:txBody>
      </p:sp>
      <p:sp>
        <p:nvSpPr>
          <p:cNvPr id="13" name="Rectangle 12">
            <a:extLst>
              <a:ext uri="{FF2B5EF4-FFF2-40B4-BE49-F238E27FC236}">
                <a16:creationId xmlns:a16="http://schemas.microsoft.com/office/drawing/2014/main" id="{E94B6CAA-9CF7-A354-2E85-D2C66C3E65B8}"/>
              </a:ext>
            </a:extLst>
          </p:cNvPr>
          <p:cNvSpPr/>
          <p:nvPr/>
        </p:nvSpPr>
        <p:spPr>
          <a:xfrm>
            <a:off x="3915399" y="3426967"/>
            <a:ext cx="1156688" cy="4398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dirty="0"/>
              <a:t>GBE Holdco</a:t>
            </a:r>
            <a:endParaRPr lang="en-CA" sz="675" dirty="0"/>
          </a:p>
        </p:txBody>
      </p:sp>
      <p:sp>
        <p:nvSpPr>
          <p:cNvPr id="14" name="Rectangle 13">
            <a:extLst>
              <a:ext uri="{FF2B5EF4-FFF2-40B4-BE49-F238E27FC236}">
                <a16:creationId xmlns:a16="http://schemas.microsoft.com/office/drawing/2014/main" id="{6D8CECFF-68C9-17C7-E143-1A3F2B1D717C}"/>
              </a:ext>
            </a:extLst>
          </p:cNvPr>
          <p:cNvSpPr/>
          <p:nvPr/>
        </p:nvSpPr>
        <p:spPr>
          <a:xfrm>
            <a:off x="3901057" y="4232714"/>
            <a:ext cx="1156688" cy="4398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a:t>GBE Water</a:t>
            </a:r>
            <a:endParaRPr lang="en-CA" sz="675"/>
          </a:p>
        </p:txBody>
      </p:sp>
      <p:sp>
        <p:nvSpPr>
          <p:cNvPr id="15" name="Rectangle 14">
            <a:extLst>
              <a:ext uri="{FF2B5EF4-FFF2-40B4-BE49-F238E27FC236}">
                <a16:creationId xmlns:a16="http://schemas.microsoft.com/office/drawing/2014/main" id="{A94037E9-1E95-E9B7-0B8A-8119228CA0C6}"/>
              </a:ext>
            </a:extLst>
          </p:cNvPr>
          <p:cNvSpPr/>
          <p:nvPr/>
        </p:nvSpPr>
        <p:spPr>
          <a:xfrm>
            <a:off x="7125528" y="4219434"/>
            <a:ext cx="1142347"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AK</a:t>
            </a:r>
            <a:endParaRPr lang="en-CA" sz="675"/>
          </a:p>
        </p:txBody>
      </p:sp>
      <p:cxnSp>
        <p:nvCxnSpPr>
          <p:cNvPr id="16" name="Straight Connector 15">
            <a:extLst>
              <a:ext uri="{FF2B5EF4-FFF2-40B4-BE49-F238E27FC236}">
                <a16:creationId xmlns:a16="http://schemas.microsoft.com/office/drawing/2014/main" id="{634C1D3E-E6B6-3F86-1F59-4F8444BB4294}"/>
              </a:ext>
            </a:extLst>
          </p:cNvPr>
          <p:cNvCxnSpPr>
            <a:cxnSpLocks/>
            <a:stCxn id="6" idx="2"/>
            <a:endCxn id="13" idx="0"/>
          </p:cNvCxnSpPr>
          <p:nvPr/>
        </p:nvCxnSpPr>
        <p:spPr>
          <a:xfrm>
            <a:off x="4490030" y="3071858"/>
            <a:ext cx="3713" cy="355109"/>
          </a:xfrm>
          <a:prstGeom prst="line">
            <a:avLst/>
          </a:prstGeom>
        </p:spPr>
        <p:style>
          <a:lnRef idx="3">
            <a:schemeClr val="dk1"/>
          </a:lnRef>
          <a:fillRef idx="0">
            <a:schemeClr val="dk1"/>
          </a:fillRef>
          <a:effectRef idx="2">
            <a:schemeClr val="dk1"/>
          </a:effectRef>
          <a:fontRef idx="minor">
            <a:schemeClr val="tx1"/>
          </a:fontRef>
        </p:style>
      </p:cxnSp>
      <p:cxnSp>
        <p:nvCxnSpPr>
          <p:cNvPr id="17" name="Straight Connector 16">
            <a:extLst>
              <a:ext uri="{FF2B5EF4-FFF2-40B4-BE49-F238E27FC236}">
                <a16:creationId xmlns:a16="http://schemas.microsoft.com/office/drawing/2014/main" id="{D1E7958D-E654-63DB-F736-68371281058F}"/>
              </a:ext>
            </a:extLst>
          </p:cNvPr>
          <p:cNvCxnSpPr>
            <a:cxnSpLocks/>
          </p:cNvCxnSpPr>
          <p:nvPr/>
        </p:nvCxnSpPr>
        <p:spPr>
          <a:xfrm>
            <a:off x="4490029" y="3878041"/>
            <a:ext cx="3713" cy="355109"/>
          </a:xfrm>
          <a:prstGeom prst="line">
            <a:avLst/>
          </a:prstGeom>
        </p:spPr>
        <p:style>
          <a:lnRef idx="3">
            <a:schemeClr val="dk1"/>
          </a:lnRef>
          <a:fillRef idx="0">
            <a:schemeClr val="dk1"/>
          </a:fillRef>
          <a:effectRef idx="2">
            <a:schemeClr val="dk1"/>
          </a:effectRef>
          <a:fontRef idx="minor">
            <a:schemeClr val="tx1"/>
          </a:fontRef>
        </p:style>
      </p:cxnSp>
      <p:sp>
        <p:nvSpPr>
          <p:cNvPr id="18" name="TextBox 17">
            <a:extLst>
              <a:ext uri="{FF2B5EF4-FFF2-40B4-BE49-F238E27FC236}">
                <a16:creationId xmlns:a16="http://schemas.microsoft.com/office/drawing/2014/main" id="{6946D55B-EE82-AFBD-FD9D-7204D202CA8D}"/>
              </a:ext>
            </a:extLst>
          </p:cNvPr>
          <p:cNvSpPr txBox="1"/>
          <p:nvPr/>
        </p:nvSpPr>
        <p:spPr>
          <a:xfrm>
            <a:off x="4527016" y="3150911"/>
            <a:ext cx="479618" cy="230832"/>
          </a:xfrm>
          <a:prstGeom prst="rect">
            <a:avLst/>
          </a:prstGeom>
          <a:noFill/>
        </p:spPr>
        <p:txBody>
          <a:bodyPr wrap="none" rtlCol="0">
            <a:spAutoFit/>
          </a:bodyPr>
          <a:lstStyle/>
          <a:p>
            <a:r>
              <a:rPr lang="en-US"/>
              <a:t>100%</a:t>
            </a:r>
            <a:endParaRPr lang="en-CA"/>
          </a:p>
        </p:txBody>
      </p:sp>
      <p:sp>
        <p:nvSpPr>
          <p:cNvPr id="19" name="TextBox 18">
            <a:extLst>
              <a:ext uri="{FF2B5EF4-FFF2-40B4-BE49-F238E27FC236}">
                <a16:creationId xmlns:a16="http://schemas.microsoft.com/office/drawing/2014/main" id="{57674732-A408-EAA5-7C24-A17E2175F877}"/>
              </a:ext>
            </a:extLst>
          </p:cNvPr>
          <p:cNvSpPr txBox="1"/>
          <p:nvPr/>
        </p:nvSpPr>
        <p:spPr>
          <a:xfrm>
            <a:off x="4534383" y="3951503"/>
            <a:ext cx="479618" cy="230832"/>
          </a:xfrm>
          <a:prstGeom prst="rect">
            <a:avLst/>
          </a:prstGeom>
          <a:noFill/>
        </p:spPr>
        <p:txBody>
          <a:bodyPr wrap="none" rtlCol="0">
            <a:spAutoFit/>
          </a:bodyPr>
          <a:lstStyle/>
          <a:p>
            <a:r>
              <a:rPr lang="en-US"/>
              <a:t>100%</a:t>
            </a:r>
            <a:endParaRPr lang="en-CA"/>
          </a:p>
        </p:txBody>
      </p:sp>
      <p:cxnSp>
        <p:nvCxnSpPr>
          <p:cNvPr id="20" name="Connector: Elbow 19">
            <a:extLst>
              <a:ext uri="{FF2B5EF4-FFF2-40B4-BE49-F238E27FC236}">
                <a16:creationId xmlns:a16="http://schemas.microsoft.com/office/drawing/2014/main" id="{380BB241-D552-9213-16F2-2E100EDCD4A3}"/>
              </a:ext>
            </a:extLst>
          </p:cNvPr>
          <p:cNvCxnSpPr>
            <a:cxnSpLocks/>
            <a:endCxn id="14" idx="2"/>
          </p:cNvCxnSpPr>
          <p:nvPr/>
        </p:nvCxnSpPr>
        <p:spPr>
          <a:xfrm rot="10800000">
            <a:off x="4479402" y="4672606"/>
            <a:ext cx="2366251" cy="711659"/>
          </a:xfrm>
          <a:prstGeom prst="bentConnector2">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 name="Straight Connector 20">
            <a:extLst>
              <a:ext uri="{FF2B5EF4-FFF2-40B4-BE49-F238E27FC236}">
                <a16:creationId xmlns:a16="http://schemas.microsoft.com/office/drawing/2014/main" id="{E98649DD-F1E3-E06F-54FA-06A1883022D3}"/>
              </a:ext>
            </a:extLst>
          </p:cNvPr>
          <p:cNvCxnSpPr>
            <a:cxnSpLocks/>
            <a:stCxn id="14" idx="3"/>
            <a:endCxn id="15" idx="1"/>
          </p:cNvCxnSpPr>
          <p:nvPr/>
        </p:nvCxnSpPr>
        <p:spPr>
          <a:xfrm flipV="1">
            <a:off x="5057745" y="4439380"/>
            <a:ext cx="2067783" cy="1328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TextBox 21">
            <a:extLst>
              <a:ext uri="{FF2B5EF4-FFF2-40B4-BE49-F238E27FC236}">
                <a16:creationId xmlns:a16="http://schemas.microsoft.com/office/drawing/2014/main" id="{940A2CFF-33BE-F82D-A6DF-2D164E83D888}"/>
              </a:ext>
            </a:extLst>
          </p:cNvPr>
          <p:cNvSpPr txBox="1"/>
          <p:nvPr/>
        </p:nvSpPr>
        <p:spPr>
          <a:xfrm>
            <a:off x="5355422" y="4568731"/>
            <a:ext cx="793807" cy="230832"/>
          </a:xfrm>
          <a:prstGeom prst="rect">
            <a:avLst/>
          </a:prstGeom>
          <a:noFill/>
        </p:spPr>
        <p:txBody>
          <a:bodyPr wrap="none" rtlCol="0">
            <a:spAutoFit/>
          </a:bodyPr>
          <a:lstStyle/>
          <a:p>
            <a:r>
              <a:rPr lang="en-US"/>
              <a:t>Wastewater</a:t>
            </a:r>
            <a:endParaRPr lang="en-CA"/>
          </a:p>
        </p:txBody>
      </p:sp>
      <p:sp>
        <p:nvSpPr>
          <p:cNvPr id="23" name="TextBox 22">
            <a:extLst>
              <a:ext uri="{FF2B5EF4-FFF2-40B4-BE49-F238E27FC236}">
                <a16:creationId xmlns:a16="http://schemas.microsoft.com/office/drawing/2014/main" id="{AF8334DB-1F3C-489E-266E-DDD522315FEB}"/>
              </a:ext>
            </a:extLst>
          </p:cNvPr>
          <p:cNvSpPr txBox="1"/>
          <p:nvPr/>
        </p:nvSpPr>
        <p:spPr>
          <a:xfrm>
            <a:off x="5250243" y="4100264"/>
            <a:ext cx="947695" cy="230832"/>
          </a:xfrm>
          <a:prstGeom prst="rect">
            <a:avLst/>
          </a:prstGeom>
          <a:noFill/>
        </p:spPr>
        <p:txBody>
          <a:bodyPr wrap="none" rtlCol="0">
            <a:spAutoFit/>
          </a:bodyPr>
          <a:lstStyle/>
          <a:p>
            <a:r>
              <a:rPr lang="en-US"/>
              <a:t>Drinking Water</a:t>
            </a:r>
            <a:endParaRPr lang="en-CA"/>
          </a:p>
        </p:txBody>
      </p:sp>
      <p:sp>
        <p:nvSpPr>
          <p:cNvPr id="24" name="Arrow: Down 23">
            <a:extLst>
              <a:ext uri="{FF2B5EF4-FFF2-40B4-BE49-F238E27FC236}">
                <a16:creationId xmlns:a16="http://schemas.microsoft.com/office/drawing/2014/main" id="{986CD7C9-7637-96A8-D066-99FDF6448F97}"/>
              </a:ext>
            </a:extLst>
          </p:cNvPr>
          <p:cNvSpPr/>
          <p:nvPr/>
        </p:nvSpPr>
        <p:spPr>
          <a:xfrm rot="5400000">
            <a:off x="5615371" y="4443613"/>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25" name="Arrow: Down 24">
            <a:extLst>
              <a:ext uri="{FF2B5EF4-FFF2-40B4-BE49-F238E27FC236}">
                <a16:creationId xmlns:a16="http://schemas.microsoft.com/office/drawing/2014/main" id="{CBC6B9C3-8D8E-E8C9-8E86-2FB566F91FF1}"/>
              </a:ext>
            </a:extLst>
          </p:cNvPr>
          <p:cNvSpPr/>
          <p:nvPr/>
        </p:nvSpPr>
        <p:spPr>
          <a:xfrm rot="16200000">
            <a:off x="5615370" y="4221539"/>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26" name="Right Brace 25">
            <a:extLst>
              <a:ext uri="{FF2B5EF4-FFF2-40B4-BE49-F238E27FC236}">
                <a16:creationId xmlns:a16="http://schemas.microsoft.com/office/drawing/2014/main" id="{5EC50202-EC37-91D3-8F6D-6C3D765FB7A3}"/>
              </a:ext>
            </a:extLst>
          </p:cNvPr>
          <p:cNvSpPr/>
          <p:nvPr/>
        </p:nvSpPr>
        <p:spPr>
          <a:xfrm>
            <a:off x="6097981" y="4159253"/>
            <a:ext cx="184511" cy="588216"/>
          </a:xfrm>
          <a:prstGeom prst="rightBrace">
            <a:avLst>
              <a:gd name="adj1" fmla="val 8333"/>
              <a:gd name="adj2" fmla="val 17609"/>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CA" sz="675"/>
          </a:p>
        </p:txBody>
      </p:sp>
      <p:sp>
        <p:nvSpPr>
          <p:cNvPr id="27" name="TextBox 26">
            <a:extLst>
              <a:ext uri="{FF2B5EF4-FFF2-40B4-BE49-F238E27FC236}">
                <a16:creationId xmlns:a16="http://schemas.microsoft.com/office/drawing/2014/main" id="{5A213DBE-464E-584A-ED6A-9D2452FB395A}"/>
              </a:ext>
            </a:extLst>
          </p:cNvPr>
          <p:cNvSpPr txBox="1"/>
          <p:nvPr/>
        </p:nvSpPr>
        <p:spPr>
          <a:xfrm>
            <a:off x="5220092" y="3231868"/>
            <a:ext cx="1402948" cy="446276"/>
          </a:xfrm>
          <a:prstGeom prst="rect">
            <a:avLst/>
          </a:prstGeom>
          <a:noFill/>
        </p:spPr>
        <p:txBody>
          <a:bodyPr wrap="none" rtlCol="0">
            <a:spAutoFit/>
          </a:bodyPr>
          <a:lstStyle/>
          <a:p>
            <a:r>
              <a:rPr lang="en-US">
                <a:solidFill>
                  <a:schemeClr val="accent3">
                    <a:lumMod val="75000"/>
                  </a:schemeClr>
                </a:solidFill>
              </a:rPr>
              <a:t>Service &amp; Maintenance </a:t>
            </a:r>
          </a:p>
          <a:p>
            <a:r>
              <a:rPr lang="en-US">
                <a:solidFill>
                  <a:schemeClr val="accent3">
                    <a:lumMod val="75000"/>
                  </a:schemeClr>
                </a:solidFill>
              </a:rPr>
              <a:t>Agreement</a:t>
            </a:r>
            <a:endParaRPr lang="en-CA">
              <a:solidFill>
                <a:schemeClr val="accent3">
                  <a:lumMod val="75000"/>
                </a:schemeClr>
              </a:solidFill>
            </a:endParaRPr>
          </a:p>
        </p:txBody>
      </p:sp>
      <p:grpSp>
        <p:nvGrpSpPr>
          <p:cNvPr id="28" name="Group 27">
            <a:extLst>
              <a:ext uri="{FF2B5EF4-FFF2-40B4-BE49-F238E27FC236}">
                <a16:creationId xmlns:a16="http://schemas.microsoft.com/office/drawing/2014/main" id="{FE811F83-F3F1-14EA-F134-30990C89FFE5}"/>
              </a:ext>
            </a:extLst>
          </p:cNvPr>
          <p:cNvGrpSpPr/>
          <p:nvPr/>
        </p:nvGrpSpPr>
        <p:grpSpPr>
          <a:xfrm>
            <a:off x="5060941" y="2851912"/>
            <a:ext cx="108938" cy="1425857"/>
            <a:chOff x="6747922" y="2659549"/>
            <a:chExt cx="145250" cy="1901142"/>
          </a:xfrm>
        </p:grpSpPr>
        <p:cxnSp>
          <p:nvCxnSpPr>
            <p:cNvPr id="29" name="Straight Connector 28">
              <a:extLst>
                <a:ext uri="{FF2B5EF4-FFF2-40B4-BE49-F238E27FC236}">
                  <a16:creationId xmlns:a16="http://schemas.microsoft.com/office/drawing/2014/main" id="{2CF0354B-EB45-4A17-05EA-A77A039DB8AB}"/>
                </a:ext>
              </a:extLst>
            </p:cNvPr>
            <p:cNvCxnSpPr>
              <a:stCxn id="6" idx="3"/>
            </p:cNvCxnSpPr>
            <p:nvPr/>
          </p:nvCxnSpPr>
          <p:spPr>
            <a:xfrm>
              <a:off x="6748271" y="2659549"/>
              <a:ext cx="135376"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id="{11910FB5-8111-A4B6-3101-F6319909300A}"/>
                </a:ext>
              </a:extLst>
            </p:cNvPr>
            <p:cNvCxnSpPr>
              <a:cxnSpLocks/>
            </p:cNvCxnSpPr>
            <p:nvPr/>
          </p:nvCxnSpPr>
          <p:spPr>
            <a:xfrm>
              <a:off x="6893172" y="2659549"/>
              <a:ext cx="0" cy="1901142"/>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3C29246F-0B4C-872F-85E4-4A5E0282262F}"/>
                </a:ext>
              </a:extLst>
            </p:cNvPr>
            <p:cNvCxnSpPr>
              <a:cxnSpLocks/>
            </p:cNvCxnSpPr>
            <p:nvPr/>
          </p:nvCxnSpPr>
          <p:spPr>
            <a:xfrm flipH="1">
              <a:off x="6747922" y="4560691"/>
              <a:ext cx="136470"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2" name="TextBox 31">
            <a:extLst>
              <a:ext uri="{FF2B5EF4-FFF2-40B4-BE49-F238E27FC236}">
                <a16:creationId xmlns:a16="http://schemas.microsoft.com/office/drawing/2014/main" id="{CEA7E9A3-72E1-50E3-1582-7FBCAC2608A8}"/>
              </a:ext>
            </a:extLst>
          </p:cNvPr>
          <p:cNvSpPr txBox="1"/>
          <p:nvPr/>
        </p:nvSpPr>
        <p:spPr>
          <a:xfrm>
            <a:off x="6316501" y="3786640"/>
            <a:ext cx="825867" cy="877163"/>
          </a:xfrm>
          <a:prstGeom prst="rect">
            <a:avLst/>
          </a:prstGeom>
          <a:noFill/>
        </p:spPr>
        <p:txBody>
          <a:bodyPr wrap="none" rtlCol="0">
            <a:spAutoFit/>
          </a:bodyPr>
          <a:lstStyle/>
          <a:p>
            <a:r>
              <a:rPr lang="en-US">
                <a:solidFill>
                  <a:schemeClr val="accent3">
                    <a:lumMod val="75000"/>
                  </a:schemeClr>
                </a:solidFill>
              </a:rPr>
              <a:t>Water and </a:t>
            </a:r>
          </a:p>
          <a:p>
            <a:r>
              <a:rPr lang="en-US">
                <a:solidFill>
                  <a:schemeClr val="accent3">
                    <a:lumMod val="75000"/>
                  </a:schemeClr>
                </a:solidFill>
              </a:rPr>
              <a:t>Wastewater </a:t>
            </a:r>
          </a:p>
          <a:p>
            <a:r>
              <a:rPr lang="en-US">
                <a:solidFill>
                  <a:schemeClr val="accent3">
                    <a:lumMod val="75000"/>
                  </a:schemeClr>
                </a:solidFill>
              </a:rPr>
              <a:t>Purchase </a:t>
            </a:r>
          </a:p>
          <a:p>
            <a:r>
              <a:rPr lang="en-US">
                <a:solidFill>
                  <a:schemeClr val="accent3">
                    <a:lumMod val="75000"/>
                  </a:schemeClr>
                </a:solidFill>
              </a:rPr>
              <a:t>Agreement</a:t>
            </a:r>
            <a:endParaRPr lang="en-CA">
              <a:solidFill>
                <a:schemeClr val="accent3">
                  <a:lumMod val="75000"/>
                </a:schemeClr>
              </a:solidFill>
            </a:endParaRPr>
          </a:p>
        </p:txBody>
      </p:sp>
      <p:sp>
        <p:nvSpPr>
          <p:cNvPr id="33" name="TextBox 32">
            <a:extLst>
              <a:ext uri="{FF2B5EF4-FFF2-40B4-BE49-F238E27FC236}">
                <a16:creationId xmlns:a16="http://schemas.microsoft.com/office/drawing/2014/main" id="{D2F8125D-6F3D-5D45-EB54-0361227A83E6}"/>
              </a:ext>
            </a:extLst>
          </p:cNvPr>
          <p:cNvSpPr txBox="1"/>
          <p:nvPr/>
        </p:nvSpPr>
        <p:spPr>
          <a:xfrm>
            <a:off x="4941145" y="5142701"/>
            <a:ext cx="1653018" cy="661720"/>
          </a:xfrm>
          <a:prstGeom prst="rect">
            <a:avLst/>
          </a:prstGeom>
          <a:noFill/>
        </p:spPr>
        <p:txBody>
          <a:bodyPr wrap="none" rtlCol="0">
            <a:spAutoFit/>
          </a:bodyPr>
          <a:lstStyle/>
          <a:p>
            <a:pPr algn="ctr"/>
            <a:r>
              <a:rPr lang="en-US">
                <a:solidFill>
                  <a:schemeClr val="accent3">
                    <a:lumMod val="75000"/>
                  </a:schemeClr>
                </a:solidFill>
              </a:rPr>
              <a:t>Asset Transfer Agreement </a:t>
            </a:r>
          </a:p>
          <a:p>
            <a:pPr algn="ctr"/>
            <a:endParaRPr lang="en-US">
              <a:solidFill>
                <a:schemeClr val="accent3">
                  <a:lumMod val="75000"/>
                </a:schemeClr>
              </a:solidFill>
            </a:endParaRPr>
          </a:p>
          <a:p>
            <a:pPr algn="ctr"/>
            <a:r>
              <a:rPr lang="en-US">
                <a:solidFill>
                  <a:schemeClr val="accent3">
                    <a:lumMod val="75000"/>
                  </a:schemeClr>
                </a:solidFill>
              </a:rPr>
              <a:t>(Pipes and Pumping Station)</a:t>
            </a:r>
            <a:endParaRPr lang="en-CA">
              <a:solidFill>
                <a:schemeClr val="accent3">
                  <a:lumMod val="75000"/>
                </a:schemeClr>
              </a:solidFill>
            </a:endParaRPr>
          </a:p>
        </p:txBody>
      </p:sp>
      <p:cxnSp>
        <p:nvCxnSpPr>
          <p:cNvPr id="34" name="Straight Connector 33">
            <a:extLst>
              <a:ext uri="{FF2B5EF4-FFF2-40B4-BE49-F238E27FC236}">
                <a16:creationId xmlns:a16="http://schemas.microsoft.com/office/drawing/2014/main" id="{F3E47826-F5ED-DA53-8492-8434CFD6AB8E}"/>
              </a:ext>
            </a:extLst>
          </p:cNvPr>
          <p:cNvCxnSpPr>
            <a:cxnSpLocks/>
          </p:cNvCxnSpPr>
          <p:nvPr/>
        </p:nvCxnSpPr>
        <p:spPr>
          <a:xfrm flipH="1">
            <a:off x="2389521" y="2884524"/>
            <a:ext cx="1532731" cy="440583"/>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86477FB7-620B-DA6C-CCAE-74CCCCE8677E}"/>
              </a:ext>
            </a:extLst>
          </p:cNvPr>
          <p:cNvCxnSpPr>
            <a:cxnSpLocks/>
            <a:stCxn id="14" idx="1"/>
            <a:endCxn id="12" idx="3"/>
          </p:cNvCxnSpPr>
          <p:nvPr/>
        </p:nvCxnSpPr>
        <p:spPr>
          <a:xfrm flipH="1" flipV="1">
            <a:off x="2333899" y="4077030"/>
            <a:ext cx="1567158" cy="37563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TextBox 35">
            <a:extLst>
              <a:ext uri="{FF2B5EF4-FFF2-40B4-BE49-F238E27FC236}">
                <a16:creationId xmlns:a16="http://schemas.microsoft.com/office/drawing/2014/main" id="{9FB7919B-4806-6A8E-424E-4179C0655737}"/>
              </a:ext>
            </a:extLst>
          </p:cNvPr>
          <p:cNvSpPr txBox="1"/>
          <p:nvPr/>
        </p:nvSpPr>
        <p:spPr>
          <a:xfrm>
            <a:off x="2383493" y="2740106"/>
            <a:ext cx="857883" cy="446276"/>
          </a:xfrm>
          <a:prstGeom prst="rect">
            <a:avLst/>
          </a:prstGeom>
          <a:noFill/>
        </p:spPr>
        <p:txBody>
          <a:bodyPr wrap="square" rtlCol="0">
            <a:spAutoFit/>
          </a:bodyPr>
          <a:lstStyle/>
          <a:p>
            <a:r>
              <a:rPr lang="en-US">
                <a:solidFill>
                  <a:schemeClr val="accent3">
                    <a:lumMod val="75000"/>
                  </a:schemeClr>
                </a:solidFill>
              </a:rPr>
              <a:t>Construction </a:t>
            </a:r>
          </a:p>
          <a:p>
            <a:r>
              <a:rPr lang="en-US">
                <a:solidFill>
                  <a:schemeClr val="accent3">
                    <a:lumMod val="75000"/>
                  </a:schemeClr>
                </a:solidFill>
              </a:rPr>
              <a:t>Agreement</a:t>
            </a:r>
          </a:p>
        </p:txBody>
      </p:sp>
      <p:sp>
        <p:nvSpPr>
          <p:cNvPr id="37" name="TextBox 36">
            <a:extLst>
              <a:ext uri="{FF2B5EF4-FFF2-40B4-BE49-F238E27FC236}">
                <a16:creationId xmlns:a16="http://schemas.microsoft.com/office/drawing/2014/main" id="{D56F965C-C66A-A0FC-06CE-0DF4D1D756B3}"/>
              </a:ext>
            </a:extLst>
          </p:cNvPr>
          <p:cNvSpPr txBox="1"/>
          <p:nvPr/>
        </p:nvSpPr>
        <p:spPr>
          <a:xfrm>
            <a:off x="2478806" y="4360982"/>
            <a:ext cx="1281120" cy="230832"/>
          </a:xfrm>
          <a:prstGeom prst="rect">
            <a:avLst/>
          </a:prstGeom>
          <a:noFill/>
        </p:spPr>
        <p:txBody>
          <a:bodyPr wrap="none" rtlCol="0">
            <a:spAutoFit/>
          </a:bodyPr>
          <a:lstStyle/>
          <a:p>
            <a:r>
              <a:rPr lang="en-US">
                <a:solidFill>
                  <a:schemeClr val="accent3">
                    <a:lumMod val="75000"/>
                  </a:schemeClr>
                </a:solidFill>
              </a:rPr>
              <a:t>Financing Agreement</a:t>
            </a:r>
          </a:p>
        </p:txBody>
      </p:sp>
      <p:sp>
        <p:nvSpPr>
          <p:cNvPr id="38" name="Rectangle 37">
            <a:extLst>
              <a:ext uri="{FF2B5EF4-FFF2-40B4-BE49-F238E27FC236}">
                <a16:creationId xmlns:a16="http://schemas.microsoft.com/office/drawing/2014/main" id="{97F51C73-84B4-05AB-301F-6F4CDF388EAD}"/>
              </a:ext>
            </a:extLst>
          </p:cNvPr>
          <p:cNvSpPr/>
          <p:nvPr/>
        </p:nvSpPr>
        <p:spPr>
          <a:xfrm>
            <a:off x="5911596" y="1481856"/>
            <a:ext cx="2983230" cy="755160"/>
          </a:xfrm>
          <a:prstGeom prst="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b="1"/>
              <a:t>During construction, the GBE is consolidated </a:t>
            </a:r>
            <a:r>
              <a:rPr lang="en-US" sz="675"/>
              <a:t>– City to guarantee the debt</a:t>
            </a:r>
            <a:endParaRPr lang="en-CA" sz="675"/>
          </a:p>
        </p:txBody>
      </p:sp>
      <p:sp>
        <p:nvSpPr>
          <p:cNvPr id="39" name="Freeform: Shape 38">
            <a:extLst>
              <a:ext uri="{FF2B5EF4-FFF2-40B4-BE49-F238E27FC236}">
                <a16:creationId xmlns:a16="http://schemas.microsoft.com/office/drawing/2014/main" id="{E899AB40-BD11-C47F-41C5-0855EF9B84EA}"/>
              </a:ext>
            </a:extLst>
          </p:cNvPr>
          <p:cNvSpPr/>
          <p:nvPr/>
        </p:nvSpPr>
        <p:spPr>
          <a:xfrm flipH="1">
            <a:off x="4800272" y="5257537"/>
            <a:ext cx="139938" cy="299720"/>
          </a:xfrm>
          <a:custGeom>
            <a:avLst/>
            <a:gdLst>
              <a:gd name="connsiteX0" fmla="*/ 0 w 250613"/>
              <a:gd name="connsiteY0" fmla="*/ 0 h 399626"/>
              <a:gd name="connsiteX1" fmla="*/ 250613 w 250613"/>
              <a:gd name="connsiteY1" fmla="*/ 169333 h 399626"/>
              <a:gd name="connsiteX2" fmla="*/ 13546 w 250613"/>
              <a:gd name="connsiteY2" fmla="*/ 399626 h 399626"/>
              <a:gd name="connsiteX3" fmla="*/ 13546 w 250613"/>
              <a:gd name="connsiteY3" fmla="*/ 399626 h 399626"/>
            </a:gdLst>
            <a:ahLst/>
            <a:cxnLst>
              <a:cxn ang="0">
                <a:pos x="connsiteX0" y="connsiteY0"/>
              </a:cxn>
              <a:cxn ang="0">
                <a:pos x="connsiteX1" y="connsiteY1"/>
              </a:cxn>
              <a:cxn ang="0">
                <a:pos x="connsiteX2" y="connsiteY2"/>
              </a:cxn>
              <a:cxn ang="0">
                <a:pos x="connsiteX3" y="connsiteY3"/>
              </a:cxn>
            </a:cxnLst>
            <a:rect l="l" t="t" r="r" b="b"/>
            <a:pathLst>
              <a:path w="250613" h="399626">
                <a:moveTo>
                  <a:pt x="0" y="0"/>
                </a:moveTo>
                <a:lnTo>
                  <a:pt x="250613" y="169333"/>
                </a:lnTo>
                <a:lnTo>
                  <a:pt x="13546" y="399626"/>
                </a:lnTo>
                <a:lnTo>
                  <a:pt x="13546" y="399626"/>
                </a:lnTo>
              </a:path>
            </a:pathLst>
          </a:cu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CA" sz="675"/>
          </a:p>
        </p:txBody>
      </p:sp>
      <p:sp>
        <p:nvSpPr>
          <p:cNvPr id="40" name="Freeform: Shape 39">
            <a:extLst>
              <a:ext uri="{FF2B5EF4-FFF2-40B4-BE49-F238E27FC236}">
                <a16:creationId xmlns:a16="http://schemas.microsoft.com/office/drawing/2014/main" id="{0B8CB975-8D17-FBBD-0F6E-A41392A81FBA}"/>
              </a:ext>
            </a:extLst>
          </p:cNvPr>
          <p:cNvSpPr/>
          <p:nvPr/>
        </p:nvSpPr>
        <p:spPr>
          <a:xfrm>
            <a:off x="579121" y="1990090"/>
            <a:ext cx="3543816" cy="3383280"/>
          </a:xfrm>
          <a:custGeom>
            <a:avLst/>
            <a:gdLst>
              <a:gd name="connsiteX0" fmla="*/ 4727787 w 4748107"/>
              <a:gd name="connsiteY0" fmla="*/ 3583094 h 4511040"/>
              <a:gd name="connsiteX1" fmla="*/ 4748107 w 4748107"/>
              <a:gd name="connsiteY1" fmla="*/ 4511040 h 4511040"/>
              <a:gd name="connsiteX2" fmla="*/ 0 w 4748107"/>
              <a:gd name="connsiteY2" fmla="*/ 4477174 h 4511040"/>
              <a:gd name="connsiteX3" fmla="*/ 54187 w 4748107"/>
              <a:gd name="connsiteY3" fmla="*/ 0 h 4511040"/>
              <a:gd name="connsiteX4" fmla="*/ 4456853 w 4748107"/>
              <a:gd name="connsiteY4" fmla="*/ 13547 h 4511040"/>
              <a:gd name="connsiteX5" fmla="*/ 4443307 w 4748107"/>
              <a:gd name="connsiteY5" fmla="*/ 13547 h 451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8107" h="4511040">
                <a:moveTo>
                  <a:pt x="4727787" y="3583094"/>
                </a:moveTo>
                <a:lnTo>
                  <a:pt x="4748107" y="4511040"/>
                </a:lnTo>
                <a:lnTo>
                  <a:pt x="0" y="4477174"/>
                </a:lnTo>
                <a:lnTo>
                  <a:pt x="54187" y="0"/>
                </a:lnTo>
                <a:lnTo>
                  <a:pt x="4456853" y="13547"/>
                </a:lnTo>
                <a:lnTo>
                  <a:pt x="4443307" y="13547"/>
                </a:lnTo>
              </a:path>
            </a:pathLst>
          </a:cu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CA" sz="675"/>
          </a:p>
        </p:txBody>
      </p:sp>
      <p:sp>
        <p:nvSpPr>
          <p:cNvPr id="41" name="TextBox 40">
            <a:extLst>
              <a:ext uri="{FF2B5EF4-FFF2-40B4-BE49-F238E27FC236}">
                <a16:creationId xmlns:a16="http://schemas.microsoft.com/office/drawing/2014/main" id="{E5AED648-9078-41DD-4A0F-66E95D535616}"/>
              </a:ext>
            </a:extLst>
          </p:cNvPr>
          <p:cNvSpPr txBox="1"/>
          <p:nvPr/>
        </p:nvSpPr>
        <p:spPr>
          <a:xfrm>
            <a:off x="961981" y="1745379"/>
            <a:ext cx="2153155" cy="661720"/>
          </a:xfrm>
          <a:prstGeom prst="rect">
            <a:avLst/>
          </a:prstGeom>
          <a:noFill/>
        </p:spPr>
        <p:txBody>
          <a:bodyPr wrap="none" rtlCol="0">
            <a:spAutoFit/>
          </a:bodyPr>
          <a:lstStyle/>
          <a:p>
            <a:pPr algn="ctr"/>
            <a:r>
              <a:rPr lang="en-US">
                <a:solidFill>
                  <a:schemeClr val="accent3">
                    <a:lumMod val="75000"/>
                  </a:schemeClr>
                </a:solidFill>
              </a:rPr>
              <a:t>Asset Transfer Agreement </a:t>
            </a:r>
          </a:p>
          <a:p>
            <a:pPr algn="ctr"/>
            <a:endParaRPr lang="en-US">
              <a:solidFill>
                <a:schemeClr val="accent3">
                  <a:lumMod val="75000"/>
                </a:schemeClr>
              </a:solidFill>
            </a:endParaRPr>
          </a:p>
          <a:p>
            <a:pPr algn="ctr"/>
            <a:r>
              <a:rPr lang="en-US">
                <a:solidFill>
                  <a:schemeClr val="accent3">
                    <a:lumMod val="75000"/>
                  </a:schemeClr>
                </a:solidFill>
              </a:rPr>
              <a:t>(Force mains and 2 Pumping Stations)</a:t>
            </a:r>
            <a:endParaRPr lang="en-CA">
              <a:solidFill>
                <a:schemeClr val="accent3">
                  <a:lumMod val="75000"/>
                </a:schemeClr>
              </a:solidFill>
            </a:endParaRPr>
          </a:p>
        </p:txBody>
      </p:sp>
      <p:sp>
        <p:nvSpPr>
          <p:cNvPr id="42" name="Freeform: Shape 41">
            <a:extLst>
              <a:ext uri="{FF2B5EF4-FFF2-40B4-BE49-F238E27FC236}">
                <a16:creationId xmlns:a16="http://schemas.microsoft.com/office/drawing/2014/main" id="{8FE4188B-4C21-9AF5-596C-B1C6BA8D0391}"/>
              </a:ext>
            </a:extLst>
          </p:cNvPr>
          <p:cNvSpPr/>
          <p:nvPr/>
        </p:nvSpPr>
        <p:spPr>
          <a:xfrm>
            <a:off x="3154281" y="1873079"/>
            <a:ext cx="187960" cy="299720"/>
          </a:xfrm>
          <a:custGeom>
            <a:avLst/>
            <a:gdLst>
              <a:gd name="connsiteX0" fmla="*/ 0 w 250613"/>
              <a:gd name="connsiteY0" fmla="*/ 0 h 399626"/>
              <a:gd name="connsiteX1" fmla="*/ 250613 w 250613"/>
              <a:gd name="connsiteY1" fmla="*/ 169333 h 399626"/>
              <a:gd name="connsiteX2" fmla="*/ 13546 w 250613"/>
              <a:gd name="connsiteY2" fmla="*/ 399626 h 399626"/>
              <a:gd name="connsiteX3" fmla="*/ 13546 w 250613"/>
              <a:gd name="connsiteY3" fmla="*/ 399626 h 399626"/>
            </a:gdLst>
            <a:ahLst/>
            <a:cxnLst>
              <a:cxn ang="0">
                <a:pos x="connsiteX0" y="connsiteY0"/>
              </a:cxn>
              <a:cxn ang="0">
                <a:pos x="connsiteX1" y="connsiteY1"/>
              </a:cxn>
              <a:cxn ang="0">
                <a:pos x="connsiteX2" y="connsiteY2"/>
              </a:cxn>
              <a:cxn ang="0">
                <a:pos x="connsiteX3" y="connsiteY3"/>
              </a:cxn>
            </a:cxnLst>
            <a:rect l="l" t="t" r="r" b="b"/>
            <a:pathLst>
              <a:path w="250613" h="399626">
                <a:moveTo>
                  <a:pt x="0" y="0"/>
                </a:moveTo>
                <a:lnTo>
                  <a:pt x="250613" y="169333"/>
                </a:lnTo>
                <a:lnTo>
                  <a:pt x="13546" y="399626"/>
                </a:lnTo>
                <a:lnTo>
                  <a:pt x="13546" y="399626"/>
                </a:lnTo>
              </a:path>
            </a:pathLst>
          </a:cu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CA" sz="675"/>
          </a:p>
        </p:txBody>
      </p:sp>
      <p:sp>
        <p:nvSpPr>
          <p:cNvPr id="43" name="Rectangle 42">
            <a:extLst>
              <a:ext uri="{FF2B5EF4-FFF2-40B4-BE49-F238E27FC236}">
                <a16:creationId xmlns:a16="http://schemas.microsoft.com/office/drawing/2014/main" id="{62F19567-32E1-3A19-F496-875D59114879}"/>
              </a:ext>
            </a:extLst>
          </p:cNvPr>
          <p:cNvSpPr/>
          <p:nvPr/>
        </p:nvSpPr>
        <p:spPr>
          <a:xfrm>
            <a:off x="6871676" y="5153424"/>
            <a:ext cx="14490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One Forty Developments</a:t>
            </a:r>
            <a:endParaRPr lang="en-CA" sz="675"/>
          </a:p>
        </p:txBody>
      </p:sp>
      <p:pic>
        <p:nvPicPr>
          <p:cNvPr id="44" name="Picture 43">
            <a:extLst>
              <a:ext uri="{FF2B5EF4-FFF2-40B4-BE49-F238E27FC236}">
                <a16:creationId xmlns:a16="http://schemas.microsoft.com/office/drawing/2014/main" id="{15A52D73-5BD4-AF02-3B8D-2C06CD74E5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50" name="Title 1">
            <a:extLst>
              <a:ext uri="{FF2B5EF4-FFF2-40B4-BE49-F238E27FC236}">
                <a16:creationId xmlns:a16="http://schemas.microsoft.com/office/drawing/2014/main" id="{B370C177-43FC-3605-3DB8-B7E23637FFE6}"/>
              </a:ext>
            </a:extLst>
          </p:cNvPr>
          <p:cNvSpPr txBox="1">
            <a:spLocks/>
          </p:cNvSpPr>
          <p:nvPr/>
        </p:nvSpPr>
        <p:spPr>
          <a:xfrm>
            <a:off x="1897807" y="1055970"/>
            <a:ext cx="5314734" cy="346249"/>
          </a:xfrm>
          <a:prstGeom prst="rect">
            <a:avLst/>
          </a:prstGeom>
        </p:spPr>
        <p:txBody>
          <a:bodyPr vert="horz" wrap="square" lIns="0" tIns="0" rIns="0" bIns="0" rtlCol="0" anchor="t" anchorCtr="0">
            <a:spAutoFit/>
          </a:bodyPr>
          <a:lstStyle>
            <a:lvl1pPr algn="l" defTabSz="552479" rtl="0" eaLnBrk="1" latinLnBrk="0" hangingPunct="1">
              <a:lnSpc>
                <a:spcPts val="2700"/>
              </a:lnSpc>
              <a:spcBef>
                <a:spcPct val="0"/>
              </a:spcBef>
              <a:buNone/>
              <a:defRPr sz="2250" b="0" kern="1200">
                <a:solidFill>
                  <a:schemeClr val="accent1"/>
                </a:solidFill>
                <a:latin typeface="GT Walsheim LC Bold" pitchFamily="2" charset="0"/>
                <a:ea typeface="+mj-ea"/>
                <a:cs typeface="GT Walsheim LC Bold" pitchFamily="2" charset="0"/>
              </a:defRPr>
            </a:lvl1pPr>
          </a:lstStyle>
          <a:p>
            <a:pPr>
              <a:spcAft>
                <a:spcPts val="0"/>
              </a:spcAft>
              <a:buFontTx/>
            </a:pPr>
            <a:r>
              <a:rPr lang="en-US">
                <a:solidFill>
                  <a:schemeClr val="accent2"/>
                </a:solidFill>
              </a:rPr>
              <a:t>GBE – Structure (During Construction)</a:t>
            </a:r>
          </a:p>
        </p:txBody>
      </p:sp>
      <p:sp>
        <p:nvSpPr>
          <p:cNvPr id="45" name="Footer Placeholder 5">
            <a:extLst>
              <a:ext uri="{FF2B5EF4-FFF2-40B4-BE49-F238E27FC236}">
                <a16:creationId xmlns:a16="http://schemas.microsoft.com/office/drawing/2014/main" id="{020AA505-BB5A-07E7-699A-D083867A5C9B}"/>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2797691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4826B-A8B6-442E-B50A-278EAA8E07F2}"/>
              </a:ext>
            </a:extLst>
          </p:cNvPr>
          <p:cNvSpPr>
            <a:spLocks noGrp="1"/>
          </p:cNvSpPr>
          <p:nvPr>
            <p:ph type="title"/>
          </p:nvPr>
        </p:nvSpPr>
        <p:spPr/>
        <p:txBody>
          <a:bodyPr/>
          <a:lstStyle/>
          <a:p>
            <a:r>
              <a:rPr lang="en-US"/>
              <a:t>Appendix A: Structure </a:t>
            </a:r>
          </a:p>
        </p:txBody>
      </p:sp>
      <p:sp>
        <p:nvSpPr>
          <p:cNvPr id="4" name="Slide Number Placeholder 3">
            <a:extLst>
              <a:ext uri="{FF2B5EF4-FFF2-40B4-BE49-F238E27FC236}">
                <a16:creationId xmlns:a16="http://schemas.microsoft.com/office/drawing/2014/main" id="{0914D5BE-6A75-399B-603C-E36347F25C83}"/>
              </a:ext>
            </a:extLst>
          </p:cNvPr>
          <p:cNvSpPr>
            <a:spLocks noGrp="1"/>
          </p:cNvSpPr>
          <p:nvPr>
            <p:ph type="sldNum" sz="quarter" idx="4"/>
          </p:nvPr>
        </p:nvSpPr>
        <p:spPr/>
        <p:txBody>
          <a:bodyPr/>
          <a:lstStyle/>
          <a:p>
            <a:fld id="{1AB31D9B-80B6-41F8-B283-556E26E6158E}" type="slidenum">
              <a:rPr lang="en-GB" smtClean="0"/>
              <a:pPr/>
              <a:t>36</a:t>
            </a:fld>
            <a:endParaRPr lang="en-GB"/>
          </a:p>
        </p:txBody>
      </p:sp>
      <p:sp>
        <p:nvSpPr>
          <p:cNvPr id="5" name="Rectangle 4">
            <a:extLst>
              <a:ext uri="{FF2B5EF4-FFF2-40B4-BE49-F238E27FC236}">
                <a16:creationId xmlns:a16="http://schemas.microsoft.com/office/drawing/2014/main" id="{CD4C14DC-6EA5-CEDE-333C-824F4E5049D6}"/>
              </a:ext>
            </a:extLst>
          </p:cNvPr>
          <p:cNvSpPr/>
          <p:nvPr/>
        </p:nvSpPr>
        <p:spPr>
          <a:xfrm>
            <a:off x="3918857" y="1836965"/>
            <a:ext cx="1142347" cy="4398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Region</a:t>
            </a:r>
            <a:endParaRPr lang="en-CA" sz="675"/>
          </a:p>
        </p:txBody>
      </p:sp>
      <p:sp>
        <p:nvSpPr>
          <p:cNvPr id="6" name="Rectangle 5">
            <a:extLst>
              <a:ext uri="{FF2B5EF4-FFF2-40B4-BE49-F238E27FC236}">
                <a16:creationId xmlns:a16="http://schemas.microsoft.com/office/drawing/2014/main" id="{1090ABE4-26C3-36B9-274B-59B5A37C2CFC}"/>
              </a:ext>
            </a:extLst>
          </p:cNvPr>
          <p:cNvSpPr/>
          <p:nvPr/>
        </p:nvSpPr>
        <p:spPr>
          <a:xfrm>
            <a:off x="3918857" y="2631966"/>
            <a:ext cx="1142347" cy="4398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City</a:t>
            </a:r>
            <a:endParaRPr lang="en-CA" sz="675"/>
          </a:p>
        </p:txBody>
      </p:sp>
      <p:sp>
        <p:nvSpPr>
          <p:cNvPr id="7" name="Arrow: Down 6">
            <a:extLst>
              <a:ext uri="{FF2B5EF4-FFF2-40B4-BE49-F238E27FC236}">
                <a16:creationId xmlns:a16="http://schemas.microsoft.com/office/drawing/2014/main" id="{6D310265-94D1-CA07-4B1D-FDD4ECC67FC0}"/>
              </a:ext>
            </a:extLst>
          </p:cNvPr>
          <p:cNvSpPr/>
          <p:nvPr/>
        </p:nvSpPr>
        <p:spPr>
          <a:xfrm>
            <a:off x="4149090" y="2321856"/>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8" name="Arrow: Down 7">
            <a:extLst>
              <a:ext uri="{FF2B5EF4-FFF2-40B4-BE49-F238E27FC236}">
                <a16:creationId xmlns:a16="http://schemas.microsoft.com/office/drawing/2014/main" id="{420EE5E3-3613-B300-5C46-28677CCCBF9F}"/>
              </a:ext>
            </a:extLst>
          </p:cNvPr>
          <p:cNvSpPr/>
          <p:nvPr/>
        </p:nvSpPr>
        <p:spPr>
          <a:xfrm rot="10800000">
            <a:off x="4709160" y="2352290"/>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9" name="TextBox 8">
            <a:extLst>
              <a:ext uri="{FF2B5EF4-FFF2-40B4-BE49-F238E27FC236}">
                <a16:creationId xmlns:a16="http://schemas.microsoft.com/office/drawing/2014/main" id="{D5FCEE01-42DF-C144-9BC7-2FFD01D9BEA6}"/>
              </a:ext>
            </a:extLst>
          </p:cNvPr>
          <p:cNvSpPr txBox="1"/>
          <p:nvPr/>
        </p:nvSpPr>
        <p:spPr>
          <a:xfrm>
            <a:off x="4791457" y="2347279"/>
            <a:ext cx="793807" cy="230832"/>
          </a:xfrm>
          <a:prstGeom prst="rect">
            <a:avLst/>
          </a:prstGeom>
          <a:noFill/>
        </p:spPr>
        <p:txBody>
          <a:bodyPr wrap="none" rtlCol="0">
            <a:spAutoFit/>
          </a:bodyPr>
          <a:lstStyle/>
          <a:p>
            <a:r>
              <a:rPr lang="en-US"/>
              <a:t>Wastewater</a:t>
            </a:r>
            <a:endParaRPr lang="en-CA"/>
          </a:p>
        </p:txBody>
      </p:sp>
      <p:sp>
        <p:nvSpPr>
          <p:cNvPr id="10" name="TextBox 9">
            <a:extLst>
              <a:ext uri="{FF2B5EF4-FFF2-40B4-BE49-F238E27FC236}">
                <a16:creationId xmlns:a16="http://schemas.microsoft.com/office/drawing/2014/main" id="{BBD36545-C9CF-B9AC-E1D7-9018ADC0592E}"/>
              </a:ext>
            </a:extLst>
          </p:cNvPr>
          <p:cNvSpPr txBox="1"/>
          <p:nvPr/>
        </p:nvSpPr>
        <p:spPr>
          <a:xfrm>
            <a:off x="3223694" y="2334567"/>
            <a:ext cx="947695" cy="230832"/>
          </a:xfrm>
          <a:prstGeom prst="rect">
            <a:avLst/>
          </a:prstGeom>
          <a:noFill/>
        </p:spPr>
        <p:txBody>
          <a:bodyPr wrap="none" rtlCol="0">
            <a:spAutoFit/>
          </a:bodyPr>
          <a:lstStyle/>
          <a:p>
            <a:r>
              <a:rPr lang="en-US"/>
              <a:t>Drinking Water</a:t>
            </a:r>
            <a:endParaRPr lang="en-CA"/>
          </a:p>
        </p:txBody>
      </p:sp>
      <p:sp>
        <p:nvSpPr>
          <p:cNvPr id="11" name="Rectangle 10">
            <a:extLst>
              <a:ext uri="{FF2B5EF4-FFF2-40B4-BE49-F238E27FC236}">
                <a16:creationId xmlns:a16="http://schemas.microsoft.com/office/drawing/2014/main" id="{22964949-E6D2-91EE-DAED-75C67DD6F4A4}"/>
              </a:ext>
            </a:extLst>
          </p:cNvPr>
          <p:cNvSpPr/>
          <p:nvPr/>
        </p:nvSpPr>
        <p:spPr>
          <a:xfrm>
            <a:off x="992564" y="3013882"/>
            <a:ext cx="13413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Contractor (s)</a:t>
            </a:r>
            <a:endParaRPr lang="en-CA" sz="675"/>
          </a:p>
        </p:txBody>
      </p:sp>
      <p:sp>
        <p:nvSpPr>
          <p:cNvPr id="12" name="Rectangle 11">
            <a:extLst>
              <a:ext uri="{FF2B5EF4-FFF2-40B4-BE49-F238E27FC236}">
                <a16:creationId xmlns:a16="http://schemas.microsoft.com/office/drawing/2014/main" id="{80154E14-8611-50A8-A374-0A8FF4081EE8}"/>
              </a:ext>
            </a:extLst>
          </p:cNvPr>
          <p:cNvSpPr/>
          <p:nvPr/>
        </p:nvSpPr>
        <p:spPr>
          <a:xfrm>
            <a:off x="992564" y="3857084"/>
            <a:ext cx="13413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a:t>Lenders</a:t>
            </a:r>
            <a:endParaRPr lang="en-US" sz="675">
              <a:cs typeface="Arial"/>
            </a:endParaRPr>
          </a:p>
        </p:txBody>
      </p:sp>
      <p:sp>
        <p:nvSpPr>
          <p:cNvPr id="13" name="Rectangle 12">
            <a:extLst>
              <a:ext uri="{FF2B5EF4-FFF2-40B4-BE49-F238E27FC236}">
                <a16:creationId xmlns:a16="http://schemas.microsoft.com/office/drawing/2014/main" id="{90E85799-C6FC-4ABB-1CF7-64BB1797CA6B}"/>
              </a:ext>
            </a:extLst>
          </p:cNvPr>
          <p:cNvSpPr/>
          <p:nvPr/>
        </p:nvSpPr>
        <p:spPr>
          <a:xfrm>
            <a:off x="3915399" y="3426967"/>
            <a:ext cx="1156688" cy="4398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dirty="0"/>
              <a:t>GBE Holdco</a:t>
            </a:r>
            <a:endParaRPr lang="en-CA" sz="675" dirty="0"/>
          </a:p>
        </p:txBody>
      </p:sp>
      <p:sp>
        <p:nvSpPr>
          <p:cNvPr id="14" name="Rectangle 13">
            <a:extLst>
              <a:ext uri="{FF2B5EF4-FFF2-40B4-BE49-F238E27FC236}">
                <a16:creationId xmlns:a16="http://schemas.microsoft.com/office/drawing/2014/main" id="{4A3608B0-E49A-10E5-25AA-0BBF9E741A63}"/>
              </a:ext>
            </a:extLst>
          </p:cNvPr>
          <p:cNvSpPr/>
          <p:nvPr/>
        </p:nvSpPr>
        <p:spPr>
          <a:xfrm>
            <a:off x="3901057" y="4232714"/>
            <a:ext cx="1156688" cy="4398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a:t>GBE Water</a:t>
            </a:r>
            <a:endParaRPr lang="en-CA" sz="675"/>
          </a:p>
        </p:txBody>
      </p:sp>
      <p:sp>
        <p:nvSpPr>
          <p:cNvPr id="15" name="Rectangle 14">
            <a:extLst>
              <a:ext uri="{FF2B5EF4-FFF2-40B4-BE49-F238E27FC236}">
                <a16:creationId xmlns:a16="http://schemas.microsoft.com/office/drawing/2014/main" id="{02B15F1F-967E-0201-CB8C-4BD294699686}"/>
              </a:ext>
            </a:extLst>
          </p:cNvPr>
          <p:cNvSpPr/>
          <p:nvPr/>
        </p:nvSpPr>
        <p:spPr>
          <a:xfrm>
            <a:off x="7125528" y="4219434"/>
            <a:ext cx="1142347"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AK</a:t>
            </a:r>
            <a:endParaRPr lang="en-CA" sz="675"/>
          </a:p>
        </p:txBody>
      </p:sp>
      <p:cxnSp>
        <p:nvCxnSpPr>
          <p:cNvPr id="16" name="Straight Connector 15">
            <a:extLst>
              <a:ext uri="{FF2B5EF4-FFF2-40B4-BE49-F238E27FC236}">
                <a16:creationId xmlns:a16="http://schemas.microsoft.com/office/drawing/2014/main" id="{82090FDA-6DCB-FB33-0AA0-7AF1CBC182D0}"/>
              </a:ext>
            </a:extLst>
          </p:cNvPr>
          <p:cNvCxnSpPr>
            <a:cxnSpLocks/>
            <a:stCxn id="6" idx="2"/>
            <a:endCxn id="13" idx="0"/>
          </p:cNvCxnSpPr>
          <p:nvPr/>
        </p:nvCxnSpPr>
        <p:spPr>
          <a:xfrm>
            <a:off x="4490030" y="3071858"/>
            <a:ext cx="3713" cy="355109"/>
          </a:xfrm>
          <a:prstGeom prst="line">
            <a:avLst/>
          </a:prstGeom>
        </p:spPr>
        <p:style>
          <a:lnRef idx="3">
            <a:schemeClr val="dk1"/>
          </a:lnRef>
          <a:fillRef idx="0">
            <a:schemeClr val="dk1"/>
          </a:fillRef>
          <a:effectRef idx="2">
            <a:schemeClr val="dk1"/>
          </a:effectRef>
          <a:fontRef idx="minor">
            <a:schemeClr val="tx1"/>
          </a:fontRef>
        </p:style>
      </p:cxnSp>
      <p:cxnSp>
        <p:nvCxnSpPr>
          <p:cNvPr id="17" name="Straight Connector 16">
            <a:extLst>
              <a:ext uri="{FF2B5EF4-FFF2-40B4-BE49-F238E27FC236}">
                <a16:creationId xmlns:a16="http://schemas.microsoft.com/office/drawing/2014/main" id="{7F275DCA-C3A7-8BA0-5940-C462AC1AE9D5}"/>
              </a:ext>
            </a:extLst>
          </p:cNvPr>
          <p:cNvCxnSpPr>
            <a:cxnSpLocks/>
          </p:cNvCxnSpPr>
          <p:nvPr/>
        </p:nvCxnSpPr>
        <p:spPr>
          <a:xfrm>
            <a:off x="4490029" y="3878041"/>
            <a:ext cx="3713" cy="355109"/>
          </a:xfrm>
          <a:prstGeom prst="line">
            <a:avLst/>
          </a:prstGeom>
        </p:spPr>
        <p:style>
          <a:lnRef idx="3">
            <a:schemeClr val="dk1"/>
          </a:lnRef>
          <a:fillRef idx="0">
            <a:schemeClr val="dk1"/>
          </a:fillRef>
          <a:effectRef idx="2">
            <a:schemeClr val="dk1"/>
          </a:effectRef>
          <a:fontRef idx="minor">
            <a:schemeClr val="tx1"/>
          </a:fontRef>
        </p:style>
      </p:cxnSp>
      <p:sp>
        <p:nvSpPr>
          <p:cNvPr id="18" name="TextBox 17">
            <a:extLst>
              <a:ext uri="{FF2B5EF4-FFF2-40B4-BE49-F238E27FC236}">
                <a16:creationId xmlns:a16="http://schemas.microsoft.com/office/drawing/2014/main" id="{E43E0A01-213B-6A3D-4745-74408A67F383}"/>
              </a:ext>
            </a:extLst>
          </p:cNvPr>
          <p:cNvSpPr txBox="1"/>
          <p:nvPr/>
        </p:nvSpPr>
        <p:spPr>
          <a:xfrm>
            <a:off x="4527016" y="3150911"/>
            <a:ext cx="479618" cy="230832"/>
          </a:xfrm>
          <a:prstGeom prst="rect">
            <a:avLst/>
          </a:prstGeom>
          <a:noFill/>
        </p:spPr>
        <p:txBody>
          <a:bodyPr wrap="none" rtlCol="0">
            <a:spAutoFit/>
          </a:bodyPr>
          <a:lstStyle/>
          <a:p>
            <a:r>
              <a:rPr lang="en-US"/>
              <a:t>100%</a:t>
            </a:r>
            <a:endParaRPr lang="en-CA"/>
          </a:p>
        </p:txBody>
      </p:sp>
      <p:sp>
        <p:nvSpPr>
          <p:cNvPr id="19" name="TextBox 18">
            <a:extLst>
              <a:ext uri="{FF2B5EF4-FFF2-40B4-BE49-F238E27FC236}">
                <a16:creationId xmlns:a16="http://schemas.microsoft.com/office/drawing/2014/main" id="{722AA8A8-CAC8-4482-515B-700821779FAD}"/>
              </a:ext>
            </a:extLst>
          </p:cNvPr>
          <p:cNvSpPr txBox="1"/>
          <p:nvPr/>
        </p:nvSpPr>
        <p:spPr>
          <a:xfrm>
            <a:off x="4534383" y="3951503"/>
            <a:ext cx="479618" cy="230832"/>
          </a:xfrm>
          <a:prstGeom prst="rect">
            <a:avLst/>
          </a:prstGeom>
          <a:noFill/>
        </p:spPr>
        <p:txBody>
          <a:bodyPr wrap="none" rtlCol="0">
            <a:spAutoFit/>
          </a:bodyPr>
          <a:lstStyle/>
          <a:p>
            <a:r>
              <a:rPr lang="en-US"/>
              <a:t>100%</a:t>
            </a:r>
            <a:endParaRPr lang="en-CA"/>
          </a:p>
        </p:txBody>
      </p:sp>
      <p:cxnSp>
        <p:nvCxnSpPr>
          <p:cNvPr id="20" name="Connector: Elbow 19">
            <a:extLst>
              <a:ext uri="{FF2B5EF4-FFF2-40B4-BE49-F238E27FC236}">
                <a16:creationId xmlns:a16="http://schemas.microsoft.com/office/drawing/2014/main" id="{C2E40110-E26D-9B9F-0A42-8AEA29F5F289}"/>
              </a:ext>
            </a:extLst>
          </p:cNvPr>
          <p:cNvCxnSpPr>
            <a:cxnSpLocks/>
            <a:endCxn id="14" idx="2"/>
          </p:cNvCxnSpPr>
          <p:nvPr/>
        </p:nvCxnSpPr>
        <p:spPr>
          <a:xfrm rot="10800000">
            <a:off x="4479402" y="4672606"/>
            <a:ext cx="2366251" cy="711659"/>
          </a:xfrm>
          <a:prstGeom prst="bentConnector2">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 name="Straight Connector 20">
            <a:extLst>
              <a:ext uri="{FF2B5EF4-FFF2-40B4-BE49-F238E27FC236}">
                <a16:creationId xmlns:a16="http://schemas.microsoft.com/office/drawing/2014/main" id="{FCEA703D-EC4C-1D17-AE37-73AEAEBFD8CB}"/>
              </a:ext>
            </a:extLst>
          </p:cNvPr>
          <p:cNvCxnSpPr>
            <a:cxnSpLocks/>
            <a:stCxn id="14" idx="3"/>
            <a:endCxn id="15" idx="1"/>
          </p:cNvCxnSpPr>
          <p:nvPr/>
        </p:nvCxnSpPr>
        <p:spPr>
          <a:xfrm flipV="1">
            <a:off x="5057745" y="4439380"/>
            <a:ext cx="2067783" cy="1328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TextBox 21">
            <a:extLst>
              <a:ext uri="{FF2B5EF4-FFF2-40B4-BE49-F238E27FC236}">
                <a16:creationId xmlns:a16="http://schemas.microsoft.com/office/drawing/2014/main" id="{EDABB911-C8EC-B56C-D7F9-DEE7FFB7C8D9}"/>
              </a:ext>
            </a:extLst>
          </p:cNvPr>
          <p:cNvSpPr txBox="1"/>
          <p:nvPr/>
        </p:nvSpPr>
        <p:spPr>
          <a:xfrm>
            <a:off x="5355422" y="4568731"/>
            <a:ext cx="793807" cy="230832"/>
          </a:xfrm>
          <a:prstGeom prst="rect">
            <a:avLst/>
          </a:prstGeom>
          <a:noFill/>
        </p:spPr>
        <p:txBody>
          <a:bodyPr wrap="none" rtlCol="0">
            <a:spAutoFit/>
          </a:bodyPr>
          <a:lstStyle/>
          <a:p>
            <a:r>
              <a:rPr lang="en-US"/>
              <a:t>Wastewater</a:t>
            </a:r>
            <a:endParaRPr lang="en-CA"/>
          </a:p>
        </p:txBody>
      </p:sp>
      <p:sp>
        <p:nvSpPr>
          <p:cNvPr id="23" name="TextBox 22">
            <a:extLst>
              <a:ext uri="{FF2B5EF4-FFF2-40B4-BE49-F238E27FC236}">
                <a16:creationId xmlns:a16="http://schemas.microsoft.com/office/drawing/2014/main" id="{6A0E5995-DC5F-8D76-A982-E2D372254ADA}"/>
              </a:ext>
            </a:extLst>
          </p:cNvPr>
          <p:cNvSpPr txBox="1"/>
          <p:nvPr/>
        </p:nvSpPr>
        <p:spPr>
          <a:xfrm>
            <a:off x="5250243" y="4100264"/>
            <a:ext cx="947695" cy="230832"/>
          </a:xfrm>
          <a:prstGeom prst="rect">
            <a:avLst/>
          </a:prstGeom>
          <a:noFill/>
        </p:spPr>
        <p:txBody>
          <a:bodyPr wrap="none" rtlCol="0">
            <a:spAutoFit/>
          </a:bodyPr>
          <a:lstStyle/>
          <a:p>
            <a:r>
              <a:rPr lang="en-US"/>
              <a:t>Drinking Water</a:t>
            </a:r>
            <a:endParaRPr lang="en-CA"/>
          </a:p>
        </p:txBody>
      </p:sp>
      <p:sp>
        <p:nvSpPr>
          <p:cNvPr id="24" name="Arrow: Down 23">
            <a:extLst>
              <a:ext uri="{FF2B5EF4-FFF2-40B4-BE49-F238E27FC236}">
                <a16:creationId xmlns:a16="http://schemas.microsoft.com/office/drawing/2014/main" id="{2BF3364A-F7E4-047B-8988-25D2D857BEB0}"/>
              </a:ext>
            </a:extLst>
          </p:cNvPr>
          <p:cNvSpPr/>
          <p:nvPr/>
        </p:nvSpPr>
        <p:spPr>
          <a:xfrm rot="5400000">
            <a:off x="5615371" y="4443613"/>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25" name="Arrow: Down 24">
            <a:extLst>
              <a:ext uri="{FF2B5EF4-FFF2-40B4-BE49-F238E27FC236}">
                <a16:creationId xmlns:a16="http://schemas.microsoft.com/office/drawing/2014/main" id="{3D755292-6786-C40F-251D-6A04F0E479BC}"/>
              </a:ext>
            </a:extLst>
          </p:cNvPr>
          <p:cNvSpPr/>
          <p:nvPr/>
        </p:nvSpPr>
        <p:spPr>
          <a:xfrm rot="16200000">
            <a:off x="5615370" y="4221539"/>
            <a:ext cx="82296" cy="233172"/>
          </a:xfrm>
          <a:prstGeom prst="downArrow">
            <a:avLst/>
          </a:prstGeom>
          <a:solidFill>
            <a:srgbClr val="ABE9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675"/>
          </a:p>
        </p:txBody>
      </p:sp>
      <p:sp>
        <p:nvSpPr>
          <p:cNvPr id="26" name="Right Brace 25">
            <a:extLst>
              <a:ext uri="{FF2B5EF4-FFF2-40B4-BE49-F238E27FC236}">
                <a16:creationId xmlns:a16="http://schemas.microsoft.com/office/drawing/2014/main" id="{FE65EF5D-C788-AEBA-1505-EBAEDBA73516}"/>
              </a:ext>
            </a:extLst>
          </p:cNvPr>
          <p:cNvSpPr/>
          <p:nvPr/>
        </p:nvSpPr>
        <p:spPr>
          <a:xfrm>
            <a:off x="6097981" y="4159253"/>
            <a:ext cx="184511" cy="588216"/>
          </a:xfrm>
          <a:prstGeom prst="rightBrace">
            <a:avLst>
              <a:gd name="adj1" fmla="val 8333"/>
              <a:gd name="adj2" fmla="val 17609"/>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CA" sz="675"/>
          </a:p>
        </p:txBody>
      </p:sp>
      <p:sp>
        <p:nvSpPr>
          <p:cNvPr id="27" name="TextBox 26">
            <a:extLst>
              <a:ext uri="{FF2B5EF4-FFF2-40B4-BE49-F238E27FC236}">
                <a16:creationId xmlns:a16="http://schemas.microsoft.com/office/drawing/2014/main" id="{F2D3D3B0-5F93-D10D-C19B-FC54F6F7D0FF}"/>
              </a:ext>
            </a:extLst>
          </p:cNvPr>
          <p:cNvSpPr txBox="1"/>
          <p:nvPr/>
        </p:nvSpPr>
        <p:spPr>
          <a:xfrm>
            <a:off x="5220092" y="3231868"/>
            <a:ext cx="1402948" cy="446276"/>
          </a:xfrm>
          <a:prstGeom prst="rect">
            <a:avLst/>
          </a:prstGeom>
          <a:noFill/>
        </p:spPr>
        <p:txBody>
          <a:bodyPr wrap="none" rtlCol="0">
            <a:spAutoFit/>
          </a:bodyPr>
          <a:lstStyle/>
          <a:p>
            <a:r>
              <a:rPr lang="en-US">
                <a:solidFill>
                  <a:schemeClr val="accent3">
                    <a:lumMod val="75000"/>
                  </a:schemeClr>
                </a:solidFill>
              </a:rPr>
              <a:t>Service &amp; Maintenance </a:t>
            </a:r>
          </a:p>
          <a:p>
            <a:r>
              <a:rPr lang="en-US">
                <a:solidFill>
                  <a:schemeClr val="accent3">
                    <a:lumMod val="75000"/>
                  </a:schemeClr>
                </a:solidFill>
              </a:rPr>
              <a:t>Agreement</a:t>
            </a:r>
            <a:endParaRPr lang="en-CA">
              <a:solidFill>
                <a:schemeClr val="accent3">
                  <a:lumMod val="75000"/>
                </a:schemeClr>
              </a:solidFill>
            </a:endParaRPr>
          </a:p>
        </p:txBody>
      </p:sp>
      <p:grpSp>
        <p:nvGrpSpPr>
          <p:cNvPr id="28" name="Group 27">
            <a:extLst>
              <a:ext uri="{FF2B5EF4-FFF2-40B4-BE49-F238E27FC236}">
                <a16:creationId xmlns:a16="http://schemas.microsoft.com/office/drawing/2014/main" id="{E9D41824-48EA-F6BB-AA2B-D3ACA6085B2C}"/>
              </a:ext>
            </a:extLst>
          </p:cNvPr>
          <p:cNvGrpSpPr/>
          <p:nvPr/>
        </p:nvGrpSpPr>
        <p:grpSpPr>
          <a:xfrm>
            <a:off x="5060941" y="2851912"/>
            <a:ext cx="108938" cy="1425857"/>
            <a:chOff x="6747922" y="2659549"/>
            <a:chExt cx="145250" cy="1901142"/>
          </a:xfrm>
        </p:grpSpPr>
        <p:cxnSp>
          <p:nvCxnSpPr>
            <p:cNvPr id="29" name="Straight Connector 28">
              <a:extLst>
                <a:ext uri="{FF2B5EF4-FFF2-40B4-BE49-F238E27FC236}">
                  <a16:creationId xmlns:a16="http://schemas.microsoft.com/office/drawing/2014/main" id="{9BC57449-66ED-67F7-C84F-8E9CD428E16C}"/>
                </a:ext>
              </a:extLst>
            </p:cNvPr>
            <p:cNvCxnSpPr>
              <a:stCxn id="6" idx="3"/>
            </p:cNvCxnSpPr>
            <p:nvPr/>
          </p:nvCxnSpPr>
          <p:spPr>
            <a:xfrm>
              <a:off x="6748271" y="2659549"/>
              <a:ext cx="135376"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id="{B75388D6-5B25-E24A-CAC1-0204F0D2D21C}"/>
                </a:ext>
              </a:extLst>
            </p:cNvPr>
            <p:cNvCxnSpPr>
              <a:cxnSpLocks/>
            </p:cNvCxnSpPr>
            <p:nvPr/>
          </p:nvCxnSpPr>
          <p:spPr>
            <a:xfrm>
              <a:off x="6893172" y="2659549"/>
              <a:ext cx="0" cy="1901142"/>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FC5D6CA1-F07A-35A1-B03B-F079466E877F}"/>
                </a:ext>
              </a:extLst>
            </p:cNvPr>
            <p:cNvCxnSpPr>
              <a:cxnSpLocks/>
            </p:cNvCxnSpPr>
            <p:nvPr/>
          </p:nvCxnSpPr>
          <p:spPr>
            <a:xfrm flipH="1">
              <a:off x="6747922" y="4560691"/>
              <a:ext cx="136470"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2" name="TextBox 31">
            <a:extLst>
              <a:ext uri="{FF2B5EF4-FFF2-40B4-BE49-F238E27FC236}">
                <a16:creationId xmlns:a16="http://schemas.microsoft.com/office/drawing/2014/main" id="{5CFA60AC-012D-CCD8-93FF-C5C4233212B6}"/>
              </a:ext>
            </a:extLst>
          </p:cNvPr>
          <p:cNvSpPr txBox="1"/>
          <p:nvPr/>
        </p:nvSpPr>
        <p:spPr>
          <a:xfrm>
            <a:off x="6316501" y="3786640"/>
            <a:ext cx="825867" cy="877163"/>
          </a:xfrm>
          <a:prstGeom prst="rect">
            <a:avLst/>
          </a:prstGeom>
          <a:noFill/>
        </p:spPr>
        <p:txBody>
          <a:bodyPr wrap="none" rtlCol="0">
            <a:spAutoFit/>
          </a:bodyPr>
          <a:lstStyle/>
          <a:p>
            <a:r>
              <a:rPr lang="en-US">
                <a:solidFill>
                  <a:schemeClr val="accent3">
                    <a:lumMod val="75000"/>
                  </a:schemeClr>
                </a:solidFill>
              </a:rPr>
              <a:t>Water and </a:t>
            </a:r>
          </a:p>
          <a:p>
            <a:r>
              <a:rPr lang="en-US">
                <a:solidFill>
                  <a:schemeClr val="accent3">
                    <a:lumMod val="75000"/>
                  </a:schemeClr>
                </a:solidFill>
              </a:rPr>
              <a:t>Wastewater </a:t>
            </a:r>
          </a:p>
          <a:p>
            <a:r>
              <a:rPr lang="en-US">
                <a:solidFill>
                  <a:schemeClr val="accent3">
                    <a:lumMod val="75000"/>
                  </a:schemeClr>
                </a:solidFill>
              </a:rPr>
              <a:t>Purchase </a:t>
            </a:r>
          </a:p>
          <a:p>
            <a:r>
              <a:rPr lang="en-US">
                <a:solidFill>
                  <a:schemeClr val="accent3">
                    <a:lumMod val="75000"/>
                  </a:schemeClr>
                </a:solidFill>
              </a:rPr>
              <a:t>Agreement</a:t>
            </a:r>
            <a:endParaRPr lang="en-CA">
              <a:solidFill>
                <a:schemeClr val="accent3">
                  <a:lumMod val="75000"/>
                </a:schemeClr>
              </a:solidFill>
            </a:endParaRPr>
          </a:p>
        </p:txBody>
      </p:sp>
      <p:sp>
        <p:nvSpPr>
          <p:cNvPr id="33" name="TextBox 32">
            <a:extLst>
              <a:ext uri="{FF2B5EF4-FFF2-40B4-BE49-F238E27FC236}">
                <a16:creationId xmlns:a16="http://schemas.microsoft.com/office/drawing/2014/main" id="{BB0215A2-D0CF-57B7-041B-7B5AE9784DB3}"/>
              </a:ext>
            </a:extLst>
          </p:cNvPr>
          <p:cNvSpPr txBox="1"/>
          <p:nvPr/>
        </p:nvSpPr>
        <p:spPr>
          <a:xfrm>
            <a:off x="4941145" y="5142701"/>
            <a:ext cx="1653018" cy="661720"/>
          </a:xfrm>
          <a:prstGeom prst="rect">
            <a:avLst/>
          </a:prstGeom>
          <a:noFill/>
        </p:spPr>
        <p:txBody>
          <a:bodyPr wrap="none" rtlCol="0">
            <a:spAutoFit/>
          </a:bodyPr>
          <a:lstStyle/>
          <a:p>
            <a:pPr algn="ctr"/>
            <a:r>
              <a:rPr lang="en-US">
                <a:solidFill>
                  <a:schemeClr val="accent3">
                    <a:lumMod val="75000"/>
                  </a:schemeClr>
                </a:solidFill>
              </a:rPr>
              <a:t>Asset Transfer Agreement </a:t>
            </a:r>
          </a:p>
          <a:p>
            <a:pPr algn="ctr"/>
            <a:endParaRPr lang="en-US">
              <a:solidFill>
                <a:schemeClr val="accent3">
                  <a:lumMod val="75000"/>
                </a:schemeClr>
              </a:solidFill>
            </a:endParaRPr>
          </a:p>
          <a:p>
            <a:pPr algn="ctr"/>
            <a:r>
              <a:rPr lang="en-US">
                <a:solidFill>
                  <a:schemeClr val="accent3">
                    <a:lumMod val="75000"/>
                  </a:schemeClr>
                </a:solidFill>
              </a:rPr>
              <a:t>(Pipes and Pumping Station)</a:t>
            </a:r>
            <a:endParaRPr lang="en-CA">
              <a:solidFill>
                <a:schemeClr val="accent3">
                  <a:lumMod val="75000"/>
                </a:schemeClr>
              </a:solidFill>
            </a:endParaRPr>
          </a:p>
        </p:txBody>
      </p:sp>
      <p:cxnSp>
        <p:nvCxnSpPr>
          <p:cNvPr id="34" name="Straight Connector 33">
            <a:extLst>
              <a:ext uri="{FF2B5EF4-FFF2-40B4-BE49-F238E27FC236}">
                <a16:creationId xmlns:a16="http://schemas.microsoft.com/office/drawing/2014/main" id="{8ED67685-6DF4-477A-4E32-F52C4E6E59E3}"/>
              </a:ext>
            </a:extLst>
          </p:cNvPr>
          <p:cNvCxnSpPr>
            <a:cxnSpLocks/>
            <a:stCxn id="14" idx="1"/>
            <a:endCxn id="11" idx="3"/>
          </p:cNvCxnSpPr>
          <p:nvPr/>
        </p:nvCxnSpPr>
        <p:spPr>
          <a:xfrm flipH="1" flipV="1">
            <a:off x="2333899" y="3233829"/>
            <a:ext cx="1567158" cy="1218832"/>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D3840DAF-9810-C4D1-1680-1F468AA1E626}"/>
              </a:ext>
            </a:extLst>
          </p:cNvPr>
          <p:cNvCxnSpPr>
            <a:cxnSpLocks/>
            <a:stCxn id="14" idx="1"/>
            <a:endCxn id="12" idx="3"/>
          </p:cNvCxnSpPr>
          <p:nvPr/>
        </p:nvCxnSpPr>
        <p:spPr>
          <a:xfrm flipH="1" flipV="1">
            <a:off x="2333899" y="4077030"/>
            <a:ext cx="1567158" cy="37563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TextBox 35">
            <a:extLst>
              <a:ext uri="{FF2B5EF4-FFF2-40B4-BE49-F238E27FC236}">
                <a16:creationId xmlns:a16="http://schemas.microsoft.com/office/drawing/2014/main" id="{9F037B6C-ABA9-2CB8-7501-C5FD819BCEB5}"/>
              </a:ext>
            </a:extLst>
          </p:cNvPr>
          <p:cNvSpPr txBox="1"/>
          <p:nvPr/>
        </p:nvSpPr>
        <p:spPr>
          <a:xfrm>
            <a:off x="2431692" y="3008642"/>
            <a:ext cx="864339" cy="446276"/>
          </a:xfrm>
          <a:prstGeom prst="rect">
            <a:avLst/>
          </a:prstGeom>
          <a:noFill/>
        </p:spPr>
        <p:txBody>
          <a:bodyPr wrap="none" rtlCol="0">
            <a:spAutoFit/>
          </a:bodyPr>
          <a:lstStyle/>
          <a:p>
            <a:r>
              <a:rPr lang="en-US">
                <a:solidFill>
                  <a:schemeClr val="accent3">
                    <a:lumMod val="75000"/>
                  </a:schemeClr>
                </a:solidFill>
              </a:rPr>
              <a:t>Construction </a:t>
            </a:r>
          </a:p>
          <a:p>
            <a:r>
              <a:rPr lang="en-US">
                <a:solidFill>
                  <a:schemeClr val="accent3">
                    <a:lumMod val="75000"/>
                  </a:schemeClr>
                </a:solidFill>
              </a:rPr>
              <a:t>Agreement</a:t>
            </a:r>
          </a:p>
        </p:txBody>
      </p:sp>
      <p:sp>
        <p:nvSpPr>
          <p:cNvPr id="37" name="TextBox 36">
            <a:extLst>
              <a:ext uri="{FF2B5EF4-FFF2-40B4-BE49-F238E27FC236}">
                <a16:creationId xmlns:a16="http://schemas.microsoft.com/office/drawing/2014/main" id="{6EBC4CEA-FA84-BC61-838F-E22A34A0B64F}"/>
              </a:ext>
            </a:extLst>
          </p:cNvPr>
          <p:cNvSpPr txBox="1"/>
          <p:nvPr/>
        </p:nvSpPr>
        <p:spPr>
          <a:xfrm>
            <a:off x="2478806" y="4360982"/>
            <a:ext cx="1281120" cy="230832"/>
          </a:xfrm>
          <a:prstGeom prst="rect">
            <a:avLst/>
          </a:prstGeom>
          <a:noFill/>
        </p:spPr>
        <p:txBody>
          <a:bodyPr wrap="none" rtlCol="0">
            <a:spAutoFit/>
          </a:bodyPr>
          <a:lstStyle/>
          <a:p>
            <a:r>
              <a:rPr lang="en-US">
                <a:solidFill>
                  <a:schemeClr val="accent3">
                    <a:lumMod val="75000"/>
                  </a:schemeClr>
                </a:solidFill>
              </a:rPr>
              <a:t>Financing Agreement</a:t>
            </a:r>
          </a:p>
        </p:txBody>
      </p:sp>
      <p:sp>
        <p:nvSpPr>
          <p:cNvPr id="38" name="Rectangle 37">
            <a:extLst>
              <a:ext uri="{FF2B5EF4-FFF2-40B4-BE49-F238E27FC236}">
                <a16:creationId xmlns:a16="http://schemas.microsoft.com/office/drawing/2014/main" id="{7FE95C0A-76F9-06A1-99FE-37673C3572B1}"/>
              </a:ext>
            </a:extLst>
          </p:cNvPr>
          <p:cNvSpPr/>
          <p:nvPr/>
        </p:nvSpPr>
        <p:spPr>
          <a:xfrm>
            <a:off x="5911596" y="1481856"/>
            <a:ext cx="2983230" cy="1011795"/>
          </a:xfrm>
          <a:prstGeom prst="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75" b="1" dirty="0"/>
              <a:t>Post-construction, the GBE is not consolidated</a:t>
            </a:r>
            <a:r>
              <a:rPr lang="en-US" sz="675" dirty="0"/>
              <a:t>, Doane Grant Thornton LLP assessing GBE as self-sustaining</a:t>
            </a:r>
            <a:endParaRPr lang="en-CA" sz="675" dirty="0"/>
          </a:p>
        </p:txBody>
      </p:sp>
      <p:sp>
        <p:nvSpPr>
          <p:cNvPr id="39" name="Freeform: Shape 38">
            <a:extLst>
              <a:ext uri="{FF2B5EF4-FFF2-40B4-BE49-F238E27FC236}">
                <a16:creationId xmlns:a16="http://schemas.microsoft.com/office/drawing/2014/main" id="{CCDAA089-5B84-DAA1-6858-FD74C58448A4}"/>
              </a:ext>
            </a:extLst>
          </p:cNvPr>
          <p:cNvSpPr/>
          <p:nvPr/>
        </p:nvSpPr>
        <p:spPr>
          <a:xfrm>
            <a:off x="579121" y="1990090"/>
            <a:ext cx="3543816" cy="3383280"/>
          </a:xfrm>
          <a:custGeom>
            <a:avLst/>
            <a:gdLst>
              <a:gd name="connsiteX0" fmla="*/ 4727787 w 4748107"/>
              <a:gd name="connsiteY0" fmla="*/ 3583094 h 4511040"/>
              <a:gd name="connsiteX1" fmla="*/ 4748107 w 4748107"/>
              <a:gd name="connsiteY1" fmla="*/ 4511040 h 4511040"/>
              <a:gd name="connsiteX2" fmla="*/ 0 w 4748107"/>
              <a:gd name="connsiteY2" fmla="*/ 4477174 h 4511040"/>
              <a:gd name="connsiteX3" fmla="*/ 54187 w 4748107"/>
              <a:gd name="connsiteY3" fmla="*/ 0 h 4511040"/>
              <a:gd name="connsiteX4" fmla="*/ 4456853 w 4748107"/>
              <a:gd name="connsiteY4" fmla="*/ 13547 h 4511040"/>
              <a:gd name="connsiteX5" fmla="*/ 4443307 w 4748107"/>
              <a:gd name="connsiteY5" fmla="*/ 13547 h 451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8107" h="4511040">
                <a:moveTo>
                  <a:pt x="4727787" y="3583094"/>
                </a:moveTo>
                <a:lnTo>
                  <a:pt x="4748107" y="4511040"/>
                </a:lnTo>
                <a:lnTo>
                  <a:pt x="0" y="4477174"/>
                </a:lnTo>
                <a:lnTo>
                  <a:pt x="54187" y="0"/>
                </a:lnTo>
                <a:lnTo>
                  <a:pt x="4456853" y="13547"/>
                </a:lnTo>
                <a:lnTo>
                  <a:pt x="4443307" y="13547"/>
                </a:lnTo>
              </a:path>
            </a:pathLst>
          </a:cu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CA" sz="675"/>
          </a:p>
        </p:txBody>
      </p:sp>
      <p:sp>
        <p:nvSpPr>
          <p:cNvPr id="40" name="TextBox 39">
            <a:extLst>
              <a:ext uri="{FF2B5EF4-FFF2-40B4-BE49-F238E27FC236}">
                <a16:creationId xmlns:a16="http://schemas.microsoft.com/office/drawing/2014/main" id="{36444E8F-2E57-5C78-F454-020700C96F64}"/>
              </a:ext>
            </a:extLst>
          </p:cNvPr>
          <p:cNvSpPr txBox="1"/>
          <p:nvPr/>
        </p:nvSpPr>
        <p:spPr>
          <a:xfrm>
            <a:off x="961981" y="1745379"/>
            <a:ext cx="2153155" cy="661720"/>
          </a:xfrm>
          <a:prstGeom prst="rect">
            <a:avLst/>
          </a:prstGeom>
          <a:noFill/>
        </p:spPr>
        <p:txBody>
          <a:bodyPr wrap="none" rtlCol="0">
            <a:spAutoFit/>
          </a:bodyPr>
          <a:lstStyle/>
          <a:p>
            <a:pPr algn="ctr"/>
            <a:r>
              <a:rPr lang="en-US">
                <a:solidFill>
                  <a:schemeClr val="accent3">
                    <a:lumMod val="75000"/>
                  </a:schemeClr>
                </a:solidFill>
              </a:rPr>
              <a:t>Asset Transfer Agreement </a:t>
            </a:r>
          </a:p>
          <a:p>
            <a:pPr algn="ctr"/>
            <a:endParaRPr lang="en-US">
              <a:solidFill>
                <a:schemeClr val="accent3">
                  <a:lumMod val="75000"/>
                </a:schemeClr>
              </a:solidFill>
            </a:endParaRPr>
          </a:p>
          <a:p>
            <a:pPr algn="ctr"/>
            <a:r>
              <a:rPr lang="en-US">
                <a:solidFill>
                  <a:schemeClr val="accent3">
                    <a:lumMod val="75000"/>
                  </a:schemeClr>
                </a:solidFill>
              </a:rPr>
              <a:t>(Force mains and 2 Pumping Stations)</a:t>
            </a:r>
            <a:endParaRPr lang="en-CA">
              <a:solidFill>
                <a:schemeClr val="accent3">
                  <a:lumMod val="75000"/>
                </a:schemeClr>
              </a:solidFill>
            </a:endParaRPr>
          </a:p>
        </p:txBody>
      </p:sp>
      <p:sp>
        <p:nvSpPr>
          <p:cNvPr id="41" name="Freeform: Shape 40">
            <a:extLst>
              <a:ext uri="{FF2B5EF4-FFF2-40B4-BE49-F238E27FC236}">
                <a16:creationId xmlns:a16="http://schemas.microsoft.com/office/drawing/2014/main" id="{6DD9EBF5-BAE5-E849-FF1E-CF954642AE0D}"/>
              </a:ext>
            </a:extLst>
          </p:cNvPr>
          <p:cNvSpPr/>
          <p:nvPr/>
        </p:nvSpPr>
        <p:spPr>
          <a:xfrm>
            <a:off x="3154281" y="1873079"/>
            <a:ext cx="187960" cy="299720"/>
          </a:xfrm>
          <a:custGeom>
            <a:avLst/>
            <a:gdLst>
              <a:gd name="connsiteX0" fmla="*/ 0 w 250613"/>
              <a:gd name="connsiteY0" fmla="*/ 0 h 399626"/>
              <a:gd name="connsiteX1" fmla="*/ 250613 w 250613"/>
              <a:gd name="connsiteY1" fmla="*/ 169333 h 399626"/>
              <a:gd name="connsiteX2" fmla="*/ 13546 w 250613"/>
              <a:gd name="connsiteY2" fmla="*/ 399626 h 399626"/>
              <a:gd name="connsiteX3" fmla="*/ 13546 w 250613"/>
              <a:gd name="connsiteY3" fmla="*/ 399626 h 399626"/>
            </a:gdLst>
            <a:ahLst/>
            <a:cxnLst>
              <a:cxn ang="0">
                <a:pos x="connsiteX0" y="connsiteY0"/>
              </a:cxn>
              <a:cxn ang="0">
                <a:pos x="connsiteX1" y="connsiteY1"/>
              </a:cxn>
              <a:cxn ang="0">
                <a:pos x="connsiteX2" y="connsiteY2"/>
              </a:cxn>
              <a:cxn ang="0">
                <a:pos x="connsiteX3" y="connsiteY3"/>
              </a:cxn>
            </a:cxnLst>
            <a:rect l="l" t="t" r="r" b="b"/>
            <a:pathLst>
              <a:path w="250613" h="399626">
                <a:moveTo>
                  <a:pt x="0" y="0"/>
                </a:moveTo>
                <a:lnTo>
                  <a:pt x="250613" y="169333"/>
                </a:lnTo>
                <a:lnTo>
                  <a:pt x="13546" y="399626"/>
                </a:lnTo>
                <a:lnTo>
                  <a:pt x="13546" y="399626"/>
                </a:lnTo>
              </a:path>
            </a:pathLst>
          </a:cu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CA" sz="675"/>
          </a:p>
        </p:txBody>
      </p:sp>
      <p:sp>
        <p:nvSpPr>
          <p:cNvPr id="42" name="Freeform: Shape 41">
            <a:extLst>
              <a:ext uri="{FF2B5EF4-FFF2-40B4-BE49-F238E27FC236}">
                <a16:creationId xmlns:a16="http://schemas.microsoft.com/office/drawing/2014/main" id="{33C88C88-21CF-0479-900A-ED42A9D731DC}"/>
              </a:ext>
            </a:extLst>
          </p:cNvPr>
          <p:cNvSpPr/>
          <p:nvPr/>
        </p:nvSpPr>
        <p:spPr>
          <a:xfrm flipH="1">
            <a:off x="4800272" y="5257537"/>
            <a:ext cx="139938" cy="299720"/>
          </a:xfrm>
          <a:custGeom>
            <a:avLst/>
            <a:gdLst>
              <a:gd name="connsiteX0" fmla="*/ 0 w 250613"/>
              <a:gd name="connsiteY0" fmla="*/ 0 h 399626"/>
              <a:gd name="connsiteX1" fmla="*/ 250613 w 250613"/>
              <a:gd name="connsiteY1" fmla="*/ 169333 h 399626"/>
              <a:gd name="connsiteX2" fmla="*/ 13546 w 250613"/>
              <a:gd name="connsiteY2" fmla="*/ 399626 h 399626"/>
              <a:gd name="connsiteX3" fmla="*/ 13546 w 250613"/>
              <a:gd name="connsiteY3" fmla="*/ 399626 h 399626"/>
            </a:gdLst>
            <a:ahLst/>
            <a:cxnLst>
              <a:cxn ang="0">
                <a:pos x="connsiteX0" y="connsiteY0"/>
              </a:cxn>
              <a:cxn ang="0">
                <a:pos x="connsiteX1" y="connsiteY1"/>
              </a:cxn>
              <a:cxn ang="0">
                <a:pos x="connsiteX2" y="connsiteY2"/>
              </a:cxn>
              <a:cxn ang="0">
                <a:pos x="connsiteX3" y="connsiteY3"/>
              </a:cxn>
            </a:cxnLst>
            <a:rect l="l" t="t" r="r" b="b"/>
            <a:pathLst>
              <a:path w="250613" h="399626">
                <a:moveTo>
                  <a:pt x="0" y="0"/>
                </a:moveTo>
                <a:lnTo>
                  <a:pt x="250613" y="169333"/>
                </a:lnTo>
                <a:lnTo>
                  <a:pt x="13546" y="399626"/>
                </a:lnTo>
                <a:lnTo>
                  <a:pt x="13546" y="399626"/>
                </a:lnTo>
              </a:path>
            </a:pathLst>
          </a:cu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CA" sz="675"/>
          </a:p>
        </p:txBody>
      </p:sp>
      <p:sp>
        <p:nvSpPr>
          <p:cNvPr id="43" name="Rectangle 42">
            <a:extLst>
              <a:ext uri="{FF2B5EF4-FFF2-40B4-BE49-F238E27FC236}">
                <a16:creationId xmlns:a16="http://schemas.microsoft.com/office/drawing/2014/main" id="{63E88548-6A8D-AEC3-F2AD-AB0D4AE3D039}"/>
              </a:ext>
            </a:extLst>
          </p:cNvPr>
          <p:cNvSpPr/>
          <p:nvPr/>
        </p:nvSpPr>
        <p:spPr>
          <a:xfrm>
            <a:off x="6871676" y="5153424"/>
            <a:ext cx="1449035" cy="439892"/>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75"/>
              <a:t>One Forty Developments</a:t>
            </a:r>
            <a:endParaRPr lang="en-CA" sz="675"/>
          </a:p>
        </p:txBody>
      </p:sp>
      <p:pic>
        <p:nvPicPr>
          <p:cNvPr id="44" name="Picture 43">
            <a:extLst>
              <a:ext uri="{FF2B5EF4-FFF2-40B4-BE49-F238E27FC236}">
                <a16:creationId xmlns:a16="http://schemas.microsoft.com/office/drawing/2014/main" id="{551EE03E-0ECA-4BF8-4113-7654F80F8A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45" name="Title 1">
            <a:extLst>
              <a:ext uri="{FF2B5EF4-FFF2-40B4-BE49-F238E27FC236}">
                <a16:creationId xmlns:a16="http://schemas.microsoft.com/office/drawing/2014/main" id="{ABAC0A3C-F0EB-7924-0C48-EF24A584D417}"/>
              </a:ext>
            </a:extLst>
          </p:cNvPr>
          <p:cNvSpPr txBox="1">
            <a:spLocks/>
          </p:cNvSpPr>
          <p:nvPr/>
        </p:nvSpPr>
        <p:spPr>
          <a:xfrm>
            <a:off x="1897807" y="1055970"/>
            <a:ext cx="5314734" cy="346249"/>
          </a:xfrm>
          <a:prstGeom prst="rect">
            <a:avLst/>
          </a:prstGeom>
        </p:spPr>
        <p:txBody>
          <a:bodyPr vert="horz" wrap="square" lIns="0" tIns="0" rIns="0" bIns="0" rtlCol="0" anchor="t" anchorCtr="0">
            <a:spAutoFit/>
          </a:bodyPr>
          <a:lstStyle>
            <a:lvl1pPr algn="l" defTabSz="552479" rtl="0" eaLnBrk="1" latinLnBrk="0" hangingPunct="1">
              <a:lnSpc>
                <a:spcPts val="2700"/>
              </a:lnSpc>
              <a:spcBef>
                <a:spcPct val="0"/>
              </a:spcBef>
              <a:buNone/>
              <a:defRPr sz="2250" b="0" kern="1200">
                <a:solidFill>
                  <a:schemeClr val="accent1"/>
                </a:solidFill>
                <a:latin typeface="GT Walsheim LC Bold" pitchFamily="2" charset="0"/>
                <a:ea typeface="+mj-ea"/>
                <a:cs typeface="GT Walsheim LC Bold" pitchFamily="2" charset="0"/>
              </a:defRPr>
            </a:lvl1pPr>
          </a:lstStyle>
          <a:p>
            <a:pPr>
              <a:spcAft>
                <a:spcPts val="0"/>
              </a:spcAft>
              <a:buFontTx/>
            </a:pPr>
            <a:r>
              <a:rPr lang="en-US">
                <a:solidFill>
                  <a:schemeClr val="accent2"/>
                </a:solidFill>
              </a:rPr>
              <a:t>GBE – Structure (Post Construction)</a:t>
            </a:r>
          </a:p>
        </p:txBody>
      </p:sp>
      <p:sp>
        <p:nvSpPr>
          <p:cNvPr id="46" name="Footer Placeholder 5">
            <a:extLst>
              <a:ext uri="{FF2B5EF4-FFF2-40B4-BE49-F238E27FC236}">
                <a16:creationId xmlns:a16="http://schemas.microsoft.com/office/drawing/2014/main" id="{50B60DCC-8C9A-AADC-21BB-FE3ADDF7B20B}"/>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4979706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BC3B0-68B9-9C44-9ACD-B7D96D8640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7DEDFB-0B55-8E3E-FC5E-0B57D4C7F5D2}"/>
              </a:ext>
            </a:extLst>
          </p:cNvPr>
          <p:cNvSpPr>
            <a:spLocks noGrp="1"/>
          </p:cNvSpPr>
          <p:nvPr>
            <p:ph type="title"/>
          </p:nvPr>
        </p:nvSpPr>
        <p:spPr>
          <a:xfrm>
            <a:off x="381005" y="508005"/>
            <a:ext cx="6954439" cy="346249"/>
          </a:xfrm>
        </p:spPr>
        <p:txBody>
          <a:bodyPr/>
          <a:lstStyle/>
          <a:p>
            <a:r>
              <a:rPr lang="en-US"/>
              <a:t>Appendix B: Geographic Location</a:t>
            </a:r>
          </a:p>
        </p:txBody>
      </p:sp>
      <p:pic>
        <p:nvPicPr>
          <p:cNvPr id="6" name="Picture 5">
            <a:extLst>
              <a:ext uri="{FF2B5EF4-FFF2-40B4-BE49-F238E27FC236}">
                <a16:creationId xmlns:a16="http://schemas.microsoft.com/office/drawing/2014/main" id="{D2B56737-D71C-228B-1CA7-EF110E47C22F}"/>
              </a:ext>
            </a:extLst>
          </p:cNvPr>
          <p:cNvPicPr>
            <a:picLocks noChangeAspect="1"/>
          </p:cNvPicPr>
          <p:nvPr/>
        </p:nvPicPr>
        <p:blipFill>
          <a:blip r:embed="rId2"/>
          <a:stretch>
            <a:fillRect/>
          </a:stretch>
        </p:blipFill>
        <p:spPr>
          <a:xfrm>
            <a:off x="5455401" y="368915"/>
            <a:ext cx="3628214" cy="5721644"/>
          </a:xfrm>
          <a:prstGeom prst="rect">
            <a:avLst/>
          </a:prstGeom>
        </p:spPr>
      </p:pic>
      <p:grpSp>
        <p:nvGrpSpPr>
          <p:cNvPr id="7" name="Group 6">
            <a:extLst>
              <a:ext uri="{FF2B5EF4-FFF2-40B4-BE49-F238E27FC236}">
                <a16:creationId xmlns:a16="http://schemas.microsoft.com/office/drawing/2014/main" id="{FE4B7C91-C422-DCD8-2381-95C3F4051423}"/>
              </a:ext>
            </a:extLst>
          </p:cNvPr>
          <p:cNvGrpSpPr/>
          <p:nvPr/>
        </p:nvGrpSpPr>
        <p:grpSpPr>
          <a:xfrm>
            <a:off x="199611" y="927432"/>
            <a:ext cx="5226288" cy="4321644"/>
            <a:chOff x="622300" y="1531278"/>
            <a:chExt cx="5226288" cy="4321644"/>
          </a:xfrm>
        </p:grpSpPr>
        <p:pic>
          <p:nvPicPr>
            <p:cNvPr id="8" name="Picture 7">
              <a:extLst>
                <a:ext uri="{FF2B5EF4-FFF2-40B4-BE49-F238E27FC236}">
                  <a16:creationId xmlns:a16="http://schemas.microsoft.com/office/drawing/2014/main" id="{A50A45C4-2E8B-ED41-4230-3995E6CE6448}"/>
                </a:ext>
              </a:extLst>
            </p:cNvPr>
            <p:cNvPicPr>
              <a:picLocks noChangeAspect="1"/>
            </p:cNvPicPr>
            <p:nvPr/>
          </p:nvPicPr>
          <p:blipFill>
            <a:blip r:embed="rId3"/>
            <a:stretch>
              <a:fillRect/>
            </a:stretch>
          </p:blipFill>
          <p:spPr>
            <a:xfrm>
              <a:off x="622300" y="1531278"/>
              <a:ext cx="5226288" cy="4321644"/>
            </a:xfrm>
            <a:prstGeom prst="rect">
              <a:avLst/>
            </a:prstGeom>
          </p:spPr>
        </p:pic>
        <p:sp>
          <p:nvSpPr>
            <p:cNvPr id="9" name="Freeform: Shape 8">
              <a:extLst>
                <a:ext uri="{FF2B5EF4-FFF2-40B4-BE49-F238E27FC236}">
                  <a16:creationId xmlns:a16="http://schemas.microsoft.com/office/drawing/2014/main" id="{D2C0723D-BC63-A0B6-39B0-D43135DD1203}"/>
                </a:ext>
              </a:extLst>
            </p:cNvPr>
            <p:cNvSpPr/>
            <p:nvPr/>
          </p:nvSpPr>
          <p:spPr>
            <a:xfrm>
              <a:off x="933450" y="1727200"/>
              <a:ext cx="4768850" cy="4019550"/>
            </a:xfrm>
            <a:custGeom>
              <a:avLst/>
              <a:gdLst>
                <a:gd name="connsiteX0" fmla="*/ 679450 w 4768850"/>
                <a:gd name="connsiteY0" fmla="*/ 546100 h 4019550"/>
                <a:gd name="connsiteX1" fmla="*/ 0 w 4768850"/>
                <a:gd name="connsiteY1" fmla="*/ 558800 h 4019550"/>
                <a:gd name="connsiteX2" fmla="*/ 44450 w 4768850"/>
                <a:gd name="connsiteY2" fmla="*/ 3530600 h 4019550"/>
                <a:gd name="connsiteX3" fmla="*/ 254000 w 4768850"/>
                <a:gd name="connsiteY3" fmla="*/ 3562350 h 4019550"/>
                <a:gd name="connsiteX4" fmla="*/ 393700 w 4768850"/>
                <a:gd name="connsiteY4" fmla="*/ 3327400 h 4019550"/>
                <a:gd name="connsiteX5" fmla="*/ 825500 w 4768850"/>
                <a:gd name="connsiteY5" fmla="*/ 3479800 h 4019550"/>
                <a:gd name="connsiteX6" fmla="*/ 838200 w 4768850"/>
                <a:gd name="connsiteY6" fmla="*/ 3663950 h 4019550"/>
                <a:gd name="connsiteX7" fmla="*/ 844550 w 4768850"/>
                <a:gd name="connsiteY7" fmla="*/ 3689350 h 4019550"/>
                <a:gd name="connsiteX8" fmla="*/ 1149350 w 4768850"/>
                <a:gd name="connsiteY8" fmla="*/ 3625850 h 4019550"/>
                <a:gd name="connsiteX9" fmla="*/ 1181100 w 4768850"/>
                <a:gd name="connsiteY9" fmla="*/ 3397250 h 4019550"/>
                <a:gd name="connsiteX10" fmla="*/ 1384300 w 4768850"/>
                <a:gd name="connsiteY10" fmla="*/ 3429000 h 4019550"/>
                <a:gd name="connsiteX11" fmla="*/ 1784350 w 4768850"/>
                <a:gd name="connsiteY11" fmla="*/ 3683000 h 4019550"/>
                <a:gd name="connsiteX12" fmla="*/ 2559050 w 4768850"/>
                <a:gd name="connsiteY12" fmla="*/ 3670300 h 4019550"/>
                <a:gd name="connsiteX13" fmla="*/ 3321050 w 4768850"/>
                <a:gd name="connsiteY13" fmla="*/ 3422650 h 4019550"/>
                <a:gd name="connsiteX14" fmla="*/ 4108450 w 4768850"/>
                <a:gd name="connsiteY14" fmla="*/ 3835400 h 4019550"/>
                <a:gd name="connsiteX15" fmla="*/ 4743450 w 4768850"/>
                <a:gd name="connsiteY15" fmla="*/ 4019550 h 4019550"/>
                <a:gd name="connsiteX16" fmla="*/ 4768850 w 4768850"/>
                <a:gd name="connsiteY16" fmla="*/ 0 h 4019550"/>
                <a:gd name="connsiteX17" fmla="*/ 1524000 w 4768850"/>
                <a:gd name="connsiteY17" fmla="*/ 0 h 4019550"/>
                <a:gd name="connsiteX18" fmla="*/ 1143000 w 4768850"/>
                <a:gd name="connsiteY18" fmla="*/ 1549400 h 4019550"/>
                <a:gd name="connsiteX19" fmla="*/ 933450 w 4768850"/>
                <a:gd name="connsiteY19" fmla="*/ 565150 h 4019550"/>
                <a:gd name="connsiteX20" fmla="*/ 933450 w 4768850"/>
                <a:gd name="connsiteY20" fmla="*/ 552450 h 4019550"/>
                <a:gd name="connsiteX21" fmla="*/ 679450 w 4768850"/>
                <a:gd name="connsiteY21" fmla="*/ 546100 h 401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68850" h="4019550">
                  <a:moveTo>
                    <a:pt x="679450" y="546100"/>
                  </a:moveTo>
                  <a:lnTo>
                    <a:pt x="0" y="558800"/>
                  </a:lnTo>
                  <a:lnTo>
                    <a:pt x="44450" y="3530600"/>
                  </a:lnTo>
                  <a:lnTo>
                    <a:pt x="254000" y="3562350"/>
                  </a:lnTo>
                  <a:lnTo>
                    <a:pt x="393700" y="3327400"/>
                  </a:lnTo>
                  <a:lnTo>
                    <a:pt x="825500" y="3479800"/>
                  </a:lnTo>
                  <a:lnTo>
                    <a:pt x="838200" y="3663950"/>
                  </a:lnTo>
                  <a:lnTo>
                    <a:pt x="844550" y="3689350"/>
                  </a:lnTo>
                  <a:lnTo>
                    <a:pt x="1149350" y="3625850"/>
                  </a:lnTo>
                  <a:lnTo>
                    <a:pt x="1181100" y="3397250"/>
                  </a:lnTo>
                  <a:lnTo>
                    <a:pt x="1384300" y="3429000"/>
                  </a:lnTo>
                  <a:lnTo>
                    <a:pt x="1784350" y="3683000"/>
                  </a:lnTo>
                  <a:lnTo>
                    <a:pt x="2559050" y="3670300"/>
                  </a:lnTo>
                  <a:lnTo>
                    <a:pt x="3321050" y="3422650"/>
                  </a:lnTo>
                  <a:lnTo>
                    <a:pt x="4108450" y="3835400"/>
                  </a:lnTo>
                  <a:lnTo>
                    <a:pt x="4743450" y="4019550"/>
                  </a:lnTo>
                  <a:lnTo>
                    <a:pt x="4768850" y="0"/>
                  </a:lnTo>
                  <a:lnTo>
                    <a:pt x="1524000" y="0"/>
                  </a:lnTo>
                  <a:lnTo>
                    <a:pt x="1143000" y="1549400"/>
                  </a:lnTo>
                  <a:lnTo>
                    <a:pt x="933450" y="565150"/>
                  </a:lnTo>
                  <a:lnTo>
                    <a:pt x="933450" y="552450"/>
                  </a:lnTo>
                  <a:lnTo>
                    <a:pt x="679450" y="546100"/>
                  </a:lnTo>
                  <a:close/>
                </a:path>
              </a:pathLst>
            </a:custGeom>
            <a:noFill/>
            <a:ln w="57150">
              <a:solidFill>
                <a:srgbClr val="002060"/>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10" name="Freeform: Shape 9">
              <a:extLst>
                <a:ext uri="{FF2B5EF4-FFF2-40B4-BE49-F238E27FC236}">
                  <a16:creationId xmlns:a16="http://schemas.microsoft.com/office/drawing/2014/main" id="{236A4DD5-99B1-F8BB-0429-77C3D0B527C8}"/>
                </a:ext>
              </a:extLst>
            </p:cNvPr>
            <p:cNvSpPr/>
            <p:nvPr/>
          </p:nvSpPr>
          <p:spPr>
            <a:xfrm>
              <a:off x="2100105" y="1773534"/>
              <a:ext cx="914400" cy="1768510"/>
            </a:xfrm>
            <a:custGeom>
              <a:avLst/>
              <a:gdLst>
                <a:gd name="connsiteX0" fmla="*/ 386862 w 914400"/>
                <a:gd name="connsiteY0" fmla="*/ 0 h 1768510"/>
                <a:gd name="connsiteX1" fmla="*/ 914400 w 914400"/>
                <a:gd name="connsiteY1" fmla="*/ 0 h 1768510"/>
                <a:gd name="connsiteX2" fmla="*/ 879231 w 914400"/>
                <a:gd name="connsiteY2" fmla="*/ 291402 h 1768510"/>
                <a:gd name="connsiteX3" fmla="*/ 165798 w 914400"/>
                <a:gd name="connsiteY3" fmla="*/ 1758462 h 1768510"/>
                <a:gd name="connsiteX4" fmla="*/ 20097 w 914400"/>
                <a:gd name="connsiteY4" fmla="*/ 1768510 h 1768510"/>
                <a:gd name="connsiteX5" fmla="*/ 0 w 914400"/>
                <a:gd name="connsiteY5" fmla="*/ 1632857 h 1768510"/>
                <a:gd name="connsiteX6" fmla="*/ 386862 w 914400"/>
                <a:gd name="connsiteY6" fmla="*/ 0 h 1768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1768510">
                  <a:moveTo>
                    <a:pt x="386862" y="0"/>
                  </a:moveTo>
                  <a:lnTo>
                    <a:pt x="914400" y="0"/>
                  </a:lnTo>
                  <a:lnTo>
                    <a:pt x="879231" y="291402"/>
                  </a:lnTo>
                  <a:lnTo>
                    <a:pt x="165798" y="1758462"/>
                  </a:lnTo>
                  <a:lnTo>
                    <a:pt x="20097" y="1768510"/>
                  </a:lnTo>
                  <a:lnTo>
                    <a:pt x="0" y="1632857"/>
                  </a:lnTo>
                  <a:lnTo>
                    <a:pt x="386862" y="0"/>
                  </a:lnTo>
                  <a:close/>
                </a:path>
              </a:pathLst>
            </a:cu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CA"/>
            </a:p>
          </p:txBody>
        </p:sp>
        <p:sp>
          <p:nvSpPr>
            <p:cNvPr id="11" name="Freeform: Shape 10">
              <a:extLst>
                <a:ext uri="{FF2B5EF4-FFF2-40B4-BE49-F238E27FC236}">
                  <a16:creationId xmlns:a16="http://schemas.microsoft.com/office/drawing/2014/main" id="{1B04D07A-F988-FB55-347C-4E1AA8EBE695}"/>
                </a:ext>
              </a:extLst>
            </p:cNvPr>
            <p:cNvSpPr/>
            <p:nvPr/>
          </p:nvSpPr>
          <p:spPr>
            <a:xfrm>
              <a:off x="2278872" y="4022138"/>
              <a:ext cx="572264" cy="346209"/>
            </a:xfrm>
            <a:custGeom>
              <a:avLst/>
              <a:gdLst>
                <a:gd name="connsiteX0" fmla="*/ 0 w 572264"/>
                <a:gd name="connsiteY0" fmla="*/ 4073 h 346209"/>
                <a:gd name="connsiteX1" fmla="*/ 2037 w 572264"/>
                <a:gd name="connsiteY1" fmla="*/ 346209 h 346209"/>
                <a:gd name="connsiteX2" fmla="*/ 572264 w 572264"/>
                <a:gd name="connsiteY2" fmla="*/ 346209 h 346209"/>
                <a:gd name="connsiteX3" fmla="*/ 572264 w 572264"/>
                <a:gd name="connsiteY3" fmla="*/ 38694 h 346209"/>
                <a:gd name="connsiteX4" fmla="*/ 435817 w 572264"/>
                <a:gd name="connsiteY4" fmla="*/ 0 h 346209"/>
                <a:gd name="connsiteX5" fmla="*/ 0 w 572264"/>
                <a:gd name="connsiteY5" fmla="*/ 4073 h 34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64" h="346209">
                  <a:moveTo>
                    <a:pt x="0" y="4073"/>
                  </a:moveTo>
                  <a:lnTo>
                    <a:pt x="2037" y="346209"/>
                  </a:lnTo>
                  <a:lnTo>
                    <a:pt x="572264" y="346209"/>
                  </a:lnTo>
                  <a:lnTo>
                    <a:pt x="572264" y="38694"/>
                  </a:lnTo>
                  <a:lnTo>
                    <a:pt x="435817" y="0"/>
                  </a:lnTo>
                  <a:lnTo>
                    <a:pt x="0" y="4073"/>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Freeform: Shape 11">
              <a:extLst>
                <a:ext uri="{FF2B5EF4-FFF2-40B4-BE49-F238E27FC236}">
                  <a16:creationId xmlns:a16="http://schemas.microsoft.com/office/drawing/2014/main" id="{94C5DA84-155E-15AF-FB91-C792E9F380CB}"/>
                </a:ext>
              </a:extLst>
            </p:cNvPr>
            <p:cNvSpPr/>
            <p:nvPr/>
          </p:nvSpPr>
          <p:spPr>
            <a:xfrm>
              <a:off x="2083366" y="3749244"/>
              <a:ext cx="169031" cy="232164"/>
            </a:xfrm>
            <a:custGeom>
              <a:avLst/>
              <a:gdLst>
                <a:gd name="connsiteX0" fmla="*/ 169031 w 169031"/>
                <a:gd name="connsiteY0" fmla="*/ 0 h 232164"/>
                <a:gd name="connsiteX1" fmla="*/ 0 w 169031"/>
                <a:gd name="connsiteY1" fmla="*/ 138483 h 232164"/>
                <a:gd name="connsiteX2" fmla="*/ 158849 w 169031"/>
                <a:gd name="connsiteY2" fmla="*/ 232164 h 232164"/>
                <a:gd name="connsiteX3" fmla="*/ 169031 w 169031"/>
                <a:gd name="connsiteY3" fmla="*/ 0 h 232164"/>
              </a:gdLst>
              <a:ahLst/>
              <a:cxnLst>
                <a:cxn ang="0">
                  <a:pos x="connsiteX0" y="connsiteY0"/>
                </a:cxn>
                <a:cxn ang="0">
                  <a:pos x="connsiteX1" y="connsiteY1"/>
                </a:cxn>
                <a:cxn ang="0">
                  <a:pos x="connsiteX2" y="connsiteY2"/>
                </a:cxn>
                <a:cxn ang="0">
                  <a:pos x="connsiteX3" y="connsiteY3"/>
                </a:cxn>
              </a:cxnLst>
              <a:rect l="l" t="t" r="r" b="b"/>
              <a:pathLst>
                <a:path w="169031" h="232164">
                  <a:moveTo>
                    <a:pt x="169031" y="0"/>
                  </a:moveTo>
                  <a:lnTo>
                    <a:pt x="0" y="138483"/>
                  </a:lnTo>
                  <a:lnTo>
                    <a:pt x="158849" y="232164"/>
                  </a:lnTo>
                  <a:lnTo>
                    <a:pt x="169031" y="0"/>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12">
              <a:extLst>
                <a:ext uri="{FF2B5EF4-FFF2-40B4-BE49-F238E27FC236}">
                  <a16:creationId xmlns:a16="http://schemas.microsoft.com/office/drawing/2014/main" id="{4247CAE3-7784-758E-BDBF-656DEFBB45BB}"/>
                </a:ext>
              </a:extLst>
            </p:cNvPr>
            <p:cNvSpPr/>
            <p:nvPr/>
          </p:nvSpPr>
          <p:spPr>
            <a:xfrm>
              <a:off x="2415319" y="4390749"/>
              <a:ext cx="138484" cy="1466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a:extLst>
                <a:ext uri="{FF2B5EF4-FFF2-40B4-BE49-F238E27FC236}">
                  <a16:creationId xmlns:a16="http://schemas.microsoft.com/office/drawing/2014/main" id="{88A3253A-3A2D-1419-46E8-63FEDC332A94}"/>
                </a:ext>
              </a:extLst>
            </p:cNvPr>
            <p:cNvSpPr/>
            <p:nvPr/>
          </p:nvSpPr>
          <p:spPr>
            <a:xfrm>
              <a:off x="1028321" y="5626193"/>
              <a:ext cx="291075" cy="172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extBox 14">
              <a:extLst>
                <a:ext uri="{FF2B5EF4-FFF2-40B4-BE49-F238E27FC236}">
                  <a16:creationId xmlns:a16="http://schemas.microsoft.com/office/drawing/2014/main" id="{2B0731B0-C6EE-8A46-3252-E7AA8AF9C13A}"/>
                </a:ext>
              </a:extLst>
            </p:cNvPr>
            <p:cNvSpPr txBox="1"/>
            <p:nvPr/>
          </p:nvSpPr>
          <p:spPr>
            <a:xfrm>
              <a:off x="1320147" y="5573844"/>
              <a:ext cx="1095172" cy="276999"/>
            </a:xfrm>
            <a:prstGeom prst="rect">
              <a:avLst/>
            </a:prstGeom>
            <a:noFill/>
          </p:spPr>
          <p:txBody>
            <a:bodyPr wrap="none" lIns="91440" tIns="45720" rIns="91440" bIns="45720" rtlCol="0" anchor="t">
              <a:spAutoFit/>
            </a:bodyPr>
            <a:lstStyle/>
            <a:p>
              <a:r>
                <a:rPr lang="en-US" sz="1200"/>
                <a:t>New Housing</a:t>
              </a:r>
              <a:endParaRPr lang="en-CA" sz="1200"/>
            </a:p>
          </p:txBody>
        </p:sp>
        <p:sp>
          <p:nvSpPr>
            <p:cNvPr id="16" name="Freeform: Shape 15">
              <a:extLst>
                <a:ext uri="{FF2B5EF4-FFF2-40B4-BE49-F238E27FC236}">
                  <a16:creationId xmlns:a16="http://schemas.microsoft.com/office/drawing/2014/main" id="{A39995D9-2301-FAAB-9031-F4829D5303C1}"/>
                </a:ext>
              </a:extLst>
            </p:cNvPr>
            <p:cNvSpPr/>
            <p:nvPr/>
          </p:nvSpPr>
          <p:spPr>
            <a:xfrm>
              <a:off x="1890409" y="3628417"/>
              <a:ext cx="376136" cy="573932"/>
            </a:xfrm>
            <a:custGeom>
              <a:avLst/>
              <a:gdLst>
                <a:gd name="connsiteX0" fmla="*/ 0 w 376136"/>
                <a:gd name="connsiteY0" fmla="*/ 145915 h 573932"/>
                <a:gd name="connsiteX1" fmla="*/ 132944 w 376136"/>
                <a:gd name="connsiteY1" fmla="*/ 145915 h 573932"/>
                <a:gd name="connsiteX2" fmla="*/ 210765 w 376136"/>
                <a:gd name="connsiteY2" fmla="*/ 0 h 573932"/>
                <a:gd name="connsiteX3" fmla="*/ 369651 w 376136"/>
                <a:gd name="connsiteY3" fmla="*/ 0 h 573932"/>
                <a:gd name="connsiteX4" fmla="*/ 376136 w 376136"/>
                <a:gd name="connsiteY4" fmla="*/ 573932 h 573932"/>
                <a:gd name="connsiteX5" fmla="*/ 376136 w 376136"/>
                <a:gd name="connsiteY5" fmla="*/ 573932 h 573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136" h="573932">
                  <a:moveTo>
                    <a:pt x="0" y="145915"/>
                  </a:moveTo>
                  <a:lnTo>
                    <a:pt x="132944" y="145915"/>
                  </a:lnTo>
                  <a:lnTo>
                    <a:pt x="210765" y="0"/>
                  </a:lnTo>
                  <a:lnTo>
                    <a:pt x="369651" y="0"/>
                  </a:lnTo>
                  <a:cubicBezTo>
                    <a:pt x="371813" y="191311"/>
                    <a:pt x="373974" y="382621"/>
                    <a:pt x="376136" y="573932"/>
                  </a:cubicBezTo>
                  <a:lnTo>
                    <a:pt x="376136" y="573932"/>
                  </a:lnTo>
                </a:path>
              </a:pathLst>
            </a:custGeom>
            <a:ln>
              <a:solidFill>
                <a:srgbClr val="DD3BDD"/>
              </a:solidFill>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CA"/>
            </a:p>
          </p:txBody>
        </p:sp>
        <p:sp>
          <p:nvSpPr>
            <p:cNvPr id="17" name="Oval 16">
              <a:extLst>
                <a:ext uri="{FF2B5EF4-FFF2-40B4-BE49-F238E27FC236}">
                  <a16:creationId xmlns:a16="http://schemas.microsoft.com/office/drawing/2014/main" id="{2C11D506-F481-2039-726B-F819F3F91BC2}"/>
                </a:ext>
              </a:extLst>
            </p:cNvPr>
            <p:cNvSpPr/>
            <p:nvPr/>
          </p:nvSpPr>
          <p:spPr>
            <a:xfrm>
              <a:off x="1852747" y="3576733"/>
              <a:ext cx="340857" cy="312777"/>
            </a:xfrm>
            <a:prstGeom prst="ellipse">
              <a:avLst/>
            </a:prstGeom>
            <a:noFill/>
            <a:ln w="762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grpSp>
      <p:sp>
        <p:nvSpPr>
          <p:cNvPr id="18" name="Oval 17">
            <a:extLst>
              <a:ext uri="{FF2B5EF4-FFF2-40B4-BE49-F238E27FC236}">
                <a16:creationId xmlns:a16="http://schemas.microsoft.com/office/drawing/2014/main" id="{58D49BD1-7FAF-4856-85BD-584626A4C036}"/>
              </a:ext>
            </a:extLst>
          </p:cNvPr>
          <p:cNvSpPr/>
          <p:nvPr/>
        </p:nvSpPr>
        <p:spPr>
          <a:xfrm>
            <a:off x="6259689" y="3809637"/>
            <a:ext cx="638955" cy="632098"/>
          </a:xfrm>
          <a:prstGeom prst="ellipse">
            <a:avLst/>
          </a:prstGeom>
          <a:noFill/>
          <a:ln w="762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19" name="TextBox 18">
            <a:extLst>
              <a:ext uri="{FF2B5EF4-FFF2-40B4-BE49-F238E27FC236}">
                <a16:creationId xmlns:a16="http://schemas.microsoft.com/office/drawing/2014/main" id="{2203BE03-BED8-6885-AD53-3E5B75330FDB}"/>
              </a:ext>
            </a:extLst>
          </p:cNvPr>
          <p:cNvSpPr txBox="1"/>
          <p:nvPr/>
        </p:nvSpPr>
        <p:spPr>
          <a:xfrm>
            <a:off x="245422" y="5456965"/>
            <a:ext cx="5109502" cy="723275"/>
          </a:xfrm>
          <a:prstGeom prst="rect">
            <a:avLst/>
          </a:prstGeom>
          <a:solidFill>
            <a:schemeClr val="accent2">
              <a:lumMod val="20000"/>
              <a:lumOff val="80000"/>
            </a:schemeClr>
          </a:solidFill>
          <a:ln>
            <a:solidFill>
              <a:schemeClr val="accent1"/>
            </a:solidFill>
          </a:ln>
        </p:spPr>
        <p:txBody>
          <a:bodyPr wrap="square" rtlCol="0">
            <a:spAutoFit/>
          </a:bodyPr>
          <a:lstStyle/>
          <a:p>
            <a:r>
              <a:rPr lang="en-US" sz="1200"/>
              <a:t>Second canal crossing of water and wastewater.</a:t>
            </a:r>
          </a:p>
          <a:p>
            <a:r>
              <a:rPr lang="en-US" sz="1200"/>
              <a:t>City portion up to $24.2 million subject to the Niagara Region agreement with respect to pumping stations and force mains.</a:t>
            </a:r>
            <a:endParaRPr lang="en-CA" sz="1200"/>
          </a:p>
        </p:txBody>
      </p:sp>
      <p:cxnSp>
        <p:nvCxnSpPr>
          <p:cNvPr id="20" name="Straight Arrow Connector 19">
            <a:extLst>
              <a:ext uri="{FF2B5EF4-FFF2-40B4-BE49-F238E27FC236}">
                <a16:creationId xmlns:a16="http://schemas.microsoft.com/office/drawing/2014/main" id="{F324CFCF-0EC0-3282-BB89-3D8952D2649D}"/>
              </a:ext>
            </a:extLst>
          </p:cNvPr>
          <p:cNvCxnSpPr>
            <a:cxnSpLocks/>
          </p:cNvCxnSpPr>
          <p:nvPr/>
        </p:nvCxnSpPr>
        <p:spPr>
          <a:xfrm flipV="1">
            <a:off x="5354924" y="4449490"/>
            <a:ext cx="1224242" cy="1029099"/>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1" name="Straight Arrow Connector 20">
            <a:extLst>
              <a:ext uri="{FF2B5EF4-FFF2-40B4-BE49-F238E27FC236}">
                <a16:creationId xmlns:a16="http://schemas.microsoft.com/office/drawing/2014/main" id="{A7999D29-D540-F32C-167F-FFAEB48AD880}"/>
              </a:ext>
            </a:extLst>
          </p:cNvPr>
          <p:cNvCxnSpPr>
            <a:cxnSpLocks/>
            <a:endCxn id="18" idx="2"/>
          </p:cNvCxnSpPr>
          <p:nvPr/>
        </p:nvCxnSpPr>
        <p:spPr>
          <a:xfrm>
            <a:off x="1796792" y="3160179"/>
            <a:ext cx="4462897" cy="965507"/>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Straight Arrow Connector 21">
            <a:extLst>
              <a:ext uri="{FF2B5EF4-FFF2-40B4-BE49-F238E27FC236}">
                <a16:creationId xmlns:a16="http://schemas.microsoft.com/office/drawing/2014/main" id="{8DC34609-4D3A-D64D-FE68-292090B6BD8F}"/>
              </a:ext>
            </a:extLst>
          </p:cNvPr>
          <p:cNvCxnSpPr>
            <a:cxnSpLocks/>
          </p:cNvCxnSpPr>
          <p:nvPr/>
        </p:nvCxnSpPr>
        <p:spPr>
          <a:xfrm>
            <a:off x="2331315" y="1365631"/>
            <a:ext cx="4756506" cy="0"/>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6" name="Slide Number Placeholder 3">
            <a:extLst>
              <a:ext uri="{FF2B5EF4-FFF2-40B4-BE49-F238E27FC236}">
                <a16:creationId xmlns:a16="http://schemas.microsoft.com/office/drawing/2014/main" id="{2CCBC6B1-9BE4-344A-C876-85F97F36BF59}"/>
              </a:ext>
            </a:extLst>
          </p:cNvPr>
          <p:cNvSpPr>
            <a:spLocks noGrp="1"/>
          </p:cNvSpPr>
          <p:nvPr>
            <p:ph type="sldNum" sz="quarter" idx="4"/>
          </p:nvPr>
        </p:nvSpPr>
        <p:spPr>
          <a:xfrm>
            <a:off x="381000" y="6432347"/>
            <a:ext cx="266700" cy="92333"/>
          </a:xfrm>
        </p:spPr>
        <p:txBody>
          <a:bodyPr/>
          <a:lstStyle/>
          <a:p>
            <a:fld id="{1AB31D9B-80B6-41F8-B283-556E26E6158E}" type="slidenum">
              <a:rPr lang="en-GB" smtClean="0"/>
              <a:pPr/>
              <a:t>37</a:t>
            </a:fld>
            <a:endParaRPr lang="en-GB"/>
          </a:p>
        </p:txBody>
      </p:sp>
      <p:pic>
        <p:nvPicPr>
          <p:cNvPr id="28" name="Picture 27">
            <a:extLst>
              <a:ext uri="{FF2B5EF4-FFF2-40B4-BE49-F238E27FC236}">
                <a16:creationId xmlns:a16="http://schemas.microsoft.com/office/drawing/2014/main" id="{DC1F03C2-D53B-64C8-93DE-CA96C08D31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4" name="Footer Placeholder 5">
            <a:extLst>
              <a:ext uri="{FF2B5EF4-FFF2-40B4-BE49-F238E27FC236}">
                <a16:creationId xmlns:a16="http://schemas.microsoft.com/office/drawing/2014/main" id="{643260D8-0C85-B0B0-99D3-74A42DA93BF7}"/>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273833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781BAC-F5A4-72CE-769E-447AD63736F8}"/>
              </a:ext>
            </a:extLst>
          </p:cNvPr>
          <p:cNvSpPr>
            <a:spLocks noGrp="1"/>
          </p:cNvSpPr>
          <p:nvPr>
            <p:ph type="ftr" sz="quarter" idx="13"/>
          </p:nvPr>
        </p:nvSpPr>
        <p:spPr/>
        <p:txBody>
          <a:bodyPr/>
          <a:lstStyle/>
          <a:p>
            <a:pPr algn="l"/>
            <a:r>
              <a:rPr lang="en-US"/>
              <a:t>Global icon library : February 2023   |   © Grant Thornton International Ltd</a:t>
            </a:r>
            <a:endParaRPr lang="en-GB"/>
          </a:p>
        </p:txBody>
      </p:sp>
      <p:sp>
        <p:nvSpPr>
          <p:cNvPr id="3" name="Slide Number Placeholder 2">
            <a:extLst>
              <a:ext uri="{FF2B5EF4-FFF2-40B4-BE49-F238E27FC236}">
                <a16:creationId xmlns:a16="http://schemas.microsoft.com/office/drawing/2014/main" id="{A8BBCF06-3071-E0F9-A654-742A47C557FA}"/>
              </a:ext>
            </a:extLst>
          </p:cNvPr>
          <p:cNvSpPr>
            <a:spLocks noGrp="1"/>
          </p:cNvSpPr>
          <p:nvPr>
            <p:ph type="sldNum" sz="quarter" idx="14"/>
          </p:nvPr>
        </p:nvSpPr>
        <p:spPr/>
        <p:txBody>
          <a:bodyPr/>
          <a:lstStyle/>
          <a:p>
            <a:fld id="{1AB31D9B-80B6-41F8-B283-556E26E6158E}" type="slidenum">
              <a:rPr lang="en-GB" smtClean="0"/>
              <a:pPr/>
              <a:t>38</a:t>
            </a:fld>
            <a:endParaRPr lang="en-GB"/>
          </a:p>
        </p:txBody>
      </p:sp>
      <p:sp>
        <p:nvSpPr>
          <p:cNvPr id="4" name="Text Placeholder 3">
            <a:extLst>
              <a:ext uri="{FF2B5EF4-FFF2-40B4-BE49-F238E27FC236}">
                <a16:creationId xmlns:a16="http://schemas.microsoft.com/office/drawing/2014/main" id="{C5A46647-B8E7-0F5A-780B-D8CA0DE81A0E}"/>
              </a:ext>
            </a:extLst>
          </p:cNvPr>
          <p:cNvSpPr>
            <a:spLocks noGrp="1"/>
          </p:cNvSpPr>
          <p:nvPr>
            <p:ph type="body" sz="quarter" idx="15"/>
          </p:nvPr>
        </p:nvSpPr>
        <p:spPr/>
        <p:txBody>
          <a:bodyPr/>
          <a:lstStyle/>
          <a:p>
            <a:pPr lvl="0"/>
            <a:r>
              <a:rPr lang="en-US"/>
              <a:t>© 2025 Doane Grant Thornton Corporate Finance Inc. A Canadian Member of Grant Thornton International Ltd. All rights reserved.</a:t>
            </a:r>
          </a:p>
        </p:txBody>
      </p:sp>
    </p:spTree>
    <p:extLst>
      <p:ext uri="{BB962C8B-B14F-4D97-AF65-F5344CB8AC3E}">
        <p14:creationId xmlns:p14="http://schemas.microsoft.com/office/powerpoint/2010/main" val="2621820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270B2B-B1D7-17D5-5811-152D01FB0D5C}"/>
              </a:ext>
            </a:extLst>
          </p:cNvPr>
          <p:cNvSpPr>
            <a:spLocks noGrp="1"/>
          </p:cNvSpPr>
          <p:nvPr>
            <p:ph type="body" sz="quarter" idx="12"/>
          </p:nvPr>
        </p:nvSpPr>
        <p:spPr>
          <a:xfrm>
            <a:off x="381000" y="1378971"/>
            <a:ext cx="5890491" cy="4260848"/>
          </a:xfrm>
        </p:spPr>
        <p:txBody>
          <a:bodyPr/>
          <a:lstStyle/>
          <a:p>
            <a:pPr marL="0" indent="0">
              <a:lnSpc>
                <a:spcPct val="150000"/>
              </a:lnSpc>
              <a:spcAft>
                <a:spcPts val="600"/>
              </a:spcAft>
              <a:buNone/>
            </a:pPr>
            <a:r>
              <a:rPr lang="en-US" dirty="0"/>
              <a:t>Purpose and DGT’s Role						05</a:t>
            </a:r>
          </a:p>
          <a:p>
            <a:pPr marL="0" indent="0">
              <a:lnSpc>
                <a:spcPct val="150000"/>
              </a:lnSpc>
              <a:spcAft>
                <a:spcPts val="600"/>
              </a:spcAft>
              <a:buNone/>
            </a:pPr>
            <a:r>
              <a:rPr lang="en-US" dirty="0"/>
              <a:t>Strategic Context							08</a:t>
            </a:r>
          </a:p>
          <a:p>
            <a:pPr marL="0" indent="0">
              <a:lnSpc>
                <a:spcPct val="150000"/>
              </a:lnSpc>
              <a:spcAft>
                <a:spcPts val="600"/>
              </a:spcAft>
              <a:buNone/>
            </a:pPr>
            <a:r>
              <a:rPr lang="en-US" dirty="0"/>
              <a:t>Delivery &amp; Oversight 							12</a:t>
            </a:r>
          </a:p>
          <a:p>
            <a:pPr marL="0" indent="0">
              <a:lnSpc>
                <a:spcPct val="150000"/>
              </a:lnSpc>
              <a:spcAft>
                <a:spcPts val="600"/>
              </a:spcAft>
              <a:buNone/>
            </a:pPr>
            <a:r>
              <a:rPr lang="en-US" dirty="0"/>
              <a:t>Agreements &amp; Financing 						18</a:t>
            </a:r>
          </a:p>
          <a:p>
            <a:pPr marL="0" indent="0">
              <a:lnSpc>
                <a:spcPct val="150000"/>
              </a:lnSpc>
              <a:spcAft>
                <a:spcPts val="600"/>
              </a:spcAft>
              <a:buNone/>
            </a:pPr>
            <a:r>
              <a:rPr lang="en-US" dirty="0"/>
              <a:t>Geographic Scope &amp; Milestones 					22</a:t>
            </a:r>
          </a:p>
          <a:p>
            <a:pPr marL="0" indent="0">
              <a:lnSpc>
                <a:spcPct val="150000"/>
              </a:lnSpc>
              <a:spcAft>
                <a:spcPts val="600"/>
              </a:spcAft>
              <a:buNone/>
            </a:pPr>
            <a:r>
              <a:rPr lang="en-US" dirty="0"/>
              <a:t>Public Value &amp; Engagement 					25</a:t>
            </a:r>
          </a:p>
          <a:p>
            <a:pPr marL="0" indent="0">
              <a:lnSpc>
                <a:spcPct val="150000"/>
              </a:lnSpc>
              <a:spcAft>
                <a:spcPts val="600"/>
              </a:spcAft>
              <a:buNone/>
            </a:pPr>
            <a:r>
              <a:rPr lang="en-US" dirty="0"/>
              <a:t>Performance &amp; Resilience						30</a:t>
            </a:r>
          </a:p>
          <a:p>
            <a:pPr marL="0" indent="0">
              <a:lnSpc>
                <a:spcPct val="150000"/>
              </a:lnSpc>
              <a:spcAft>
                <a:spcPts val="600"/>
              </a:spcAft>
              <a:buNone/>
            </a:pPr>
            <a:r>
              <a:rPr lang="en-US" dirty="0"/>
              <a:t>Appendix									33</a:t>
            </a:r>
          </a:p>
        </p:txBody>
      </p:sp>
      <p:sp>
        <p:nvSpPr>
          <p:cNvPr id="3" name="Title 2">
            <a:extLst>
              <a:ext uri="{FF2B5EF4-FFF2-40B4-BE49-F238E27FC236}">
                <a16:creationId xmlns:a16="http://schemas.microsoft.com/office/drawing/2014/main" id="{9D844727-BB99-8291-C21E-1FD698A0F6C6}"/>
              </a:ext>
            </a:extLst>
          </p:cNvPr>
          <p:cNvSpPr>
            <a:spLocks noGrp="1"/>
          </p:cNvSpPr>
          <p:nvPr>
            <p:ph type="title"/>
          </p:nvPr>
        </p:nvSpPr>
        <p:spPr/>
        <p:txBody>
          <a:bodyPr/>
          <a:lstStyle/>
          <a:p>
            <a:r>
              <a:rPr lang="en-US"/>
              <a:t>Contents</a:t>
            </a:r>
            <a:endParaRPr lang="en-CA"/>
          </a:p>
        </p:txBody>
      </p:sp>
      <p:sp>
        <p:nvSpPr>
          <p:cNvPr id="6" name="Slide Number Placeholder 5">
            <a:extLst>
              <a:ext uri="{FF2B5EF4-FFF2-40B4-BE49-F238E27FC236}">
                <a16:creationId xmlns:a16="http://schemas.microsoft.com/office/drawing/2014/main" id="{27EFF645-3476-E47F-2B27-31897B64A99C}"/>
              </a:ext>
            </a:extLst>
          </p:cNvPr>
          <p:cNvSpPr>
            <a:spLocks noGrp="1"/>
          </p:cNvSpPr>
          <p:nvPr>
            <p:ph type="sldNum" sz="quarter" idx="4"/>
          </p:nvPr>
        </p:nvSpPr>
        <p:spPr/>
        <p:txBody>
          <a:bodyPr/>
          <a:lstStyle/>
          <a:p>
            <a:fld id="{1AB31D9B-80B6-41F8-B283-556E26E6158E}" type="slidenum">
              <a:rPr lang="en-GB" smtClean="0"/>
              <a:pPr/>
              <a:t>4</a:t>
            </a:fld>
            <a:endParaRPr lang="en-GB"/>
          </a:p>
        </p:txBody>
      </p:sp>
      <p:sp>
        <p:nvSpPr>
          <p:cNvPr id="5" name="Footer Placeholder 5">
            <a:extLst>
              <a:ext uri="{FF2B5EF4-FFF2-40B4-BE49-F238E27FC236}">
                <a16:creationId xmlns:a16="http://schemas.microsoft.com/office/drawing/2014/main" id="{E6CA173D-8BB2-A3E2-73BC-BBB27E288FF0}"/>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3734919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D753B-EF3A-57F7-BBB1-E7052CA57B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4BC0E2-1A98-7817-E882-412E45859D43}"/>
              </a:ext>
            </a:extLst>
          </p:cNvPr>
          <p:cNvSpPr>
            <a:spLocks noGrp="1"/>
          </p:cNvSpPr>
          <p:nvPr>
            <p:ph type="title"/>
          </p:nvPr>
        </p:nvSpPr>
        <p:spPr/>
        <p:txBody>
          <a:bodyPr/>
          <a:lstStyle/>
          <a:p>
            <a:r>
              <a:rPr lang="en-US" dirty="0"/>
              <a:t>Purpose and DGT’s Role</a:t>
            </a:r>
          </a:p>
        </p:txBody>
      </p:sp>
      <p:sp>
        <p:nvSpPr>
          <p:cNvPr id="5" name="Slide Number Placeholder 4">
            <a:extLst>
              <a:ext uri="{FF2B5EF4-FFF2-40B4-BE49-F238E27FC236}">
                <a16:creationId xmlns:a16="http://schemas.microsoft.com/office/drawing/2014/main" id="{D07E7385-EDFF-6B56-9FF5-2529E7FC897E}"/>
              </a:ext>
            </a:extLst>
          </p:cNvPr>
          <p:cNvSpPr>
            <a:spLocks noGrp="1"/>
          </p:cNvSpPr>
          <p:nvPr>
            <p:ph type="sldNum" sz="quarter" idx="4"/>
          </p:nvPr>
        </p:nvSpPr>
        <p:spPr/>
        <p:txBody>
          <a:bodyPr/>
          <a:lstStyle/>
          <a:p>
            <a:fld id="{1AB31D9B-80B6-41F8-B283-556E26E6158E}" type="slidenum">
              <a:rPr lang="en-GB" smtClean="0"/>
              <a:pPr/>
              <a:t>5</a:t>
            </a:fld>
            <a:endParaRPr lang="en-GB"/>
          </a:p>
        </p:txBody>
      </p:sp>
      <p:sp>
        <p:nvSpPr>
          <p:cNvPr id="3" name="Footer Placeholder 5">
            <a:extLst>
              <a:ext uri="{FF2B5EF4-FFF2-40B4-BE49-F238E27FC236}">
                <a16:creationId xmlns:a16="http://schemas.microsoft.com/office/drawing/2014/main" id="{F164F3B9-6750-9358-78EA-28C6C30535E8}"/>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0366921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F5571-F472-CEFA-5A89-3908500FB840}"/>
              </a:ext>
            </a:extLst>
          </p:cNvPr>
          <p:cNvSpPr>
            <a:spLocks noGrp="1"/>
          </p:cNvSpPr>
          <p:nvPr>
            <p:ph type="title"/>
          </p:nvPr>
        </p:nvSpPr>
        <p:spPr/>
        <p:txBody>
          <a:bodyPr/>
          <a:lstStyle/>
          <a:p>
            <a:r>
              <a:rPr lang="en-US" dirty="0"/>
              <a:t>Purpose of the Business Plan</a:t>
            </a:r>
            <a:endParaRPr lang="en-CA" dirty="0"/>
          </a:p>
        </p:txBody>
      </p:sp>
      <p:sp>
        <p:nvSpPr>
          <p:cNvPr id="4" name="Slide Number Placeholder 3">
            <a:extLst>
              <a:ext uri="{FF2B5EF4-FFF2-40B4-BE49-F238E27FC236}">
                <a16:creationId xmlns:a16="http://schemas.microsoft.com/office/drawing/2014/main" id="{1F6ABF63-BD4B-3026-AF94-AE07CD6BD40A}"/>
              </a:ext>
            </a:extLst>
          </p:cNvPr>
          <p:cNvSpPr>
            <a:spLocks noGrp="1"/>
          </p:cNvSpPr>
          <p:nvPr>
            <p:ph type="sldNum" sz="quarter" idx="4"/>
          </p:nvPr>
        </p:nvSpPr>
        <p:spPr/>
        <p:txBody>
          <a:bodyPr/>
          <a:lstStyle/>
          <a:p>
            <a:fld id="{1AB31D9B-80B6-41F8-B283-556E26E6158E}" type="slidenum">
              <a:rPr lang="en-GB" smtClean="0"/>
              <a:pPr/>
              <a:t>6</a:t>
            </a:fld>
            <a:endParaRPr lang="en-GB"/>
          </a:p>
        </p:txBody>
      </p:sp>
      <p:cxnSp>
        <p:nvCxnSpPr>
          <p:cNvPr id="24" name="Straight Connector 23">
            <a:extLst>
              <a:ext uri="{FF2B5EF4-FFF2-40B4-BE49-F238E27FC236}">
                <a16:creationId xmlns:a16="http://schemas.microsoft.com/office/drawing/2014/main" id="{3C509E29-10BC-4BA1-F516-FB65502A3B24}"/>
              </a:ext>
            </a:extLst>
          </p:cNvPr>
          <p:cNvCxnSpPr>
            <a:cxnSpLocks/>
          </p:cNvCxnSpPr>
          <p:nvPr/>
        </p:nvCxnSpPr>
        <p:spPr>
          <a:xfrm>
            <a:off x="383241" y="6333188"/>
            <a:ext cx="2132779"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ext Placeholder 1">
            <a:extLst>
              <a:ext uri="{FF2B5EF4-FFF2-40B4-BE49-F238E27FC236}">
                <a16:creationId xmlns:a16="http://schemas.microsoft.com/office/drawing/2014/main" id="{DC611F38-7976-0395-E0F1-B5B1E53CEDF9}"/>
              </a:ext>
            </a:extLst>
          </p:cNvPr>
          <p:cNvSpPr txBox="1">
            <a:spLocks/>
          </p:cNvSpPr>
          <p:nvPr/>
        </p:nvSpPr>
        <p:spPr>
          <a:xfrm>
            <a:off x="381000" y="1319887"/>
            <a:ext cx="8260080" cy="2707864"/>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spcAft>
                <a:spcPts val="0"/>
              </a:spcAft>
              <a:buFont typeface="Arial" panose="020B0604020202020204" pitchFamily="34" charset="0"/>
              <a:buNone/>
            </a:pPr>
            <a:endParaRPr lang="en-CA" b="0" i="0" dirty="0">
              <a:effectLst/>
              <a:latin typeface="GT Walsheim LC Light" pitchFamily="2" charset="0"/>
              <a:cs typeface="GT Walsheim LC Light" pitchFamily="2" charset="0"/>
            </a:endParaRPr>
          </a:p>
          <a:p>
            <a:pPr>
              <a:spcAft>
                <a:spcPts val="1200"/>
              </a:spcAft>
            </a:pPr>
            <a:r>
              <a:rPr lang="en-US" dirty="0">
                <a:latin typeface="GT Walsheim LC Light" pitchFamily="2" charset="0"/>
                <a:cs typeface="GT Walsheim LC Light" pitchFamily="2" charset="0"/>
              </a:rPr>
              <a:t>This business plan report has been prepared by Doane Grant Thornton (DGT) based on information provided by City management. </a:t>
            </a:r>
          </a:p>
          <a:p>
            <a:pPr>
              <a:spcAft>
                <a:spcPts val="1200"/>
              </a:spcAft>
            </a:pPr>
            <a:r>
              <a:rPr lang="en-US" dirty="0">
                <a:latin typeface="GT Walsheim LC Light" pitchFamily="2" charset="0"/>
                <a:cs typeface="GT Walsheim LC Light" pitchFamily="2" charset="0"/>
              </a:rPr>
              <a:t>Its purpose is to consolidate relevant financial, governance, and infrastructure details to support Council’s understanding of the East Side Employment Lands (ESEL) servicing initiative.</a:t>
            </a:r>
          </a:p>
          <a:p>
            <a:pPr>
              <a:spcAft>
                <a:spcPts val="1200"/>
              </a:spcAft>
            </a:pPr>
            <a:r>
              <a:rPr lang="en-US" dirty="0">
                <a:latin typeface="GT Walsheim LC Light" pitchFamily="2" charset="0"/>
                <a:cs typeface="GT Walsheim LC Light" pitchFamily="2" charset="0"/>
              </a:rPr>
              <a:t>DGT has compiled this report for informational purposes only. No recommendations, opinions, or endorsements are being made. The content reflects management-supplied data, assumptions, and projections, and should be interpreted as such.</a:t>
            </a:r>
            <a:endParaRPr lang="en-CA" dirty="0">
              <a:latin typeface="GT Walsheim LC Light" pitchFamily="2" charset="0"/>
              <a:cs typeface="GT Walsheim LC Light" pitchFamily="2" charset="0"/>
            </a:endParaRPr>
          </a:p>
        </p:txBody>
      </p:sp>
      <p:sp>
        <p:nvSpPr>
          <p:cNvPr id="9" name="Footer Placeholder 5">
            <a:extLst>
              <a:ext uri="{FF2B5EF4-FFF2-40B4-BE49-F238E27FC236}">
                <a16:creationId xmlns:a16="http://schemas.microsoft.com/office/drawing/2014/main" id="{F55A3A80-EC71-AA01-8337-E15000F153F1}"/>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pic>
        <p:nvPicPr>
          <p:cNvPr id="11" name="Picture 10">
            <a:extLst>
              <a:ext uri="{FF2B5EF4-FFF2-40B4-BE49-F238E27FC236}">
                <a16:creationId xmlns:a16="http://schemas.microsoft.com/office/drawing/2014/main" id="{EFAFB48C-7D95-9E41-2FD1-3EF0642FCD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Tree>
    <p:extLst>
      <p:ext uri="{BB962C8B-B14F-4D97-AF65-F5344CB8AC3E}">
        <p14:creationId xmlns:p14="http://schemas.microsoft.com/office/powerpoint/2010/main" val="1777671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764398-CE4D-E06C-830C-E481D5F960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C00F41-EE24-D55D-BFE4-FEA342E61EEA}"/>
              </a:ext>
            </a:extLst>
          </p:cNvPr>
          <p:cNvSpPr>
            <a:spLocks noGrp="1"/>
          </p:cNvSpPr>
          <p:nvPr>
            <p:ph type="title"/>
          </p:nvPr>
        </p:nvSpPr>
        <p:spPr/>
        <p:txBody>
          <a:bodyPr/>
          <a:lstStyle/>
          <a:p>
            <a:r>
              <a:rPr lang="en-US" dirty="0"/>
              <a:t>DGT’s Role in the Business Plan</a:t>
            </a:r>
          </a:p>
        </p:txBody>
      </p:sp>
      <p:sp>
        <p:nvSpPr>
          <p:cNvPr id="4" name="Slide Number Placeholder 3">
            <a:extLst>
              <a:ext uri="{FF2B5EF4-FFF2-40B4-BE49-F238E27FC236}">
                <a16:creationId xmlns:a16="http://schemas.microsoft.com/office/drawing/2014/main" id="{FB48631C-F4D3-565A-B50F-F15A4E756D17}"/>
              </a:ext>
            </a:extLst>
          </p:cNvPr>
          <p:cNvSpPr>
            <a:spLocks noGrp="1"/>
          </p:cNvSpPr>
          <p:nvPr>
            <p:ph type="sldNum" sz="quarter" idx="4"/>
          </p:nvPr>
        </p:nvSpPr>
        <p:spPr/>
        <p:txBody>
          <a:bodyPr/>
          <a:lstStyle/>
          <a:p>
            <a:fld id="{1AB31D9B-80B6-41F8-B283-556E26E6158E}" type="slidenum">
              <a:rPr lang="en-GB" smtClean="0"/>
              <a:pPr/>
              <a:t>7</a:t>
            </a:fld>
            <a:endParaRPr lang="en-GB"/>
          </a:p>
        </p:txBody>
      </p:sp>
      <p:sp>
        <p:nvSpPr>
          <p:cNvPr id="6" name="TextBox 5">
            <a:extLst>
              <a:ext uri="{FF2B5EF4-FFF2-40B4-BE49-F238E27FC236}">
                <a16:creationId xmlns:a16="http://schemas.microsoft.com/office/drawing/2014/main" id="{2D235081-8963-5C4E-4268-BC5B99C0AB7D}"/>
              </a:ext>
            </a:extLst>
          </p:cNvPr>
          <p:cNvSpPr txBox="1"/>
          <p:nvPr/>
        </p:nvSpPr>
        <p:spPr>
          <a:xfrm>
            <a:off x="345057" y="1872686"/>
            <a:ext cx="8417943" cy="3877985"/>
          </a:xfrm>
          <a:prstGeom prst="rect">
            <a:avLst/>
          </a:prstGeom>
          <a:noFill/>
        </p:spPr>
        <p:txBody>
          <a:bodyPr wrap="square" lIns="91440" tIns="45720" rIns="91440" bIns="45720" anchor="t">
            <a:spAutoFit/>
          </a:bodyPr>
          <a:lstStyle/>
          <a:p>
            <a:pPr>
              <a:buNone/>
            </a:pPr>
            <a:r>
              <a:rPr lang="en-US" sz="1800" dirty="0">
                <a:latin typeface="GT Walsheim LC Light"/>
                <a:cs typeface="GT Walsheim LC Light" pitchFamily="2" charset="0"/>
              </a:rPr>
              <a:t>DGT is acting as the financial advisor to the City in relation to the ESEL servicing initiative. Our role is focused exclusively on financial matters, including:</a:t>
            </a:r>
          </a:p>
          <a:p>
            <a:pPr marL="285750" indent="-285750">
              <a:buFont typeface="Arial" panose="020B0604020202020204" pitchFamily="34" charset="0"/>
              <a:buChar char="•"/>
            </a:pPr>
            <a:r>
              <a:rPr lang="en-US" sz="1800" dirty="0">
                <a:latin typeface="GT Walsheim LC Light"/>
                <a:cs typeface="GT Walsheim LC Light" pitchFamily="2" charset="0"/>
              </a:rPr>
              <a:t>Structuring and evaluating financing options</a:t>
            </a:r>
          </a:p>
          <a:p>
            <a:pPr marL="285750" indent="-285750">
              <a:buFont typeface="Arial" panose="020B0604020202020204" pitchFamily="34" charset="0"/>
              <a:buChar char="•"/>
            </a:pPr>
            <a:r>
              <a:rPr lang="en-US" sz="1800" dirty="0">
                <a:latin typeface="GT Walsheim LC Light"/>
                <a:cs typeface="GT Walsheim LC Light" pitchFamily="2" charset="0"/>
              </a:rPr>
              <a:t>Assessing debt implications and repayment capacity</a:t>
            </a:r>
          </a:p>
          <a:p>
            <a:pPr marL="285750" indent="-285750">
              <a:buFont typeface="Arial" panose="020B0604020202020204" pitchFamily="34" charset="0"/>
              <a:buChar char="•"/>
            </a:pPr>
            <a:r>
              <a:rPr lang="en-US" sz="1800" dirty="0">
                <a:latin typeface="GT Walsheim LC Light"/>
                <a:cs typeface="GT Walsheim LC Light" pitchFamily="2" charset="0"/>
              </a:rPr>
              <a:t>Supporting financial modeling and forecasting</a:t>
            </a:r>
          </a:p>
          <a:p>
            <a:pPr marL="285750" indent="-285750">
              <a:buFont typeface="Arial" panose="020B0604020202020204" pitchFamily="34" charset="0"/>
              <a:buChar char="•"/>
            </a:pPr>
            <a:r>
              <a:rPr lang="en-US" sz="1800" dirty="0">
                <a:latin typeface="GT Walsheim LC Light"/>
                <a:cs typeface="GT Walsheim LC Light" pitchFamily="2" charset="0"/>
              </a:rPr>
              <a:t>Reviewing revenue mechanisms and long-term sustainability</a:t>
            </a:r>
          </a:p>
          <a:p>
            <a:r>
              <a:rPr lang="en-US" sz="1800" dirty="0">
                <a:latin typeface="GT Walsheim LC Light"/>
                <a:cs typeface="GT Walsheim LC Light" pitchFamily="2" charset="0"/>
              </a:rPr>
              <a:t>It is important to clarify that DGT is not providing legal, technical, or engineering advice. Any references to legal agreements, infrastructure design, or operational matters are based solely on information provided by City staff and external consultants.</a:t>
            </a:r>
          </a:p>
          <a:p>
            <a:r>
              <a:rPr lang="en-US" sz="1800" dirty="0">
                <a:latin typeface="GT Walsheim LC Light"/>
                <a:cs typeface="GT Walsheim LC Light" pitchFamily="2" charset="0"/>
              </a:rPr>
              <a:t>This business plan reflects management’s inputs and assumptions, and DGT’s role is to ensure financial clarity - not to validate non-financial content.</a:t>
            </a:r>
          </a:p>
        </p:txBody>
      </p:sp>
      <p:pic>
        <p:nvPicPr>
          <p:cNvPr id="8" name="Picture 7">
            <a:extLst>
              <a:ext uri="{FF2B5EF4-FFF2-40B4-BE49-F238E27FC236}">
                <a16:creationId xmlns:a16="http://schemas.microsoft.com/office/drawing/2014/main" id="{7D795C1F-106D-C5FB-8B53-C3EB9F4C4B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9559" y="6311752"/>
            <a:ext cx="3023441" cy="333521"/>
          </a:xfrm>
          <a:prstGeom prst="rect">
            <a:avLst/>
          </a:prstGeom>
        </p:spPr>
      </p:pic>
      <p:sp>
        <p:nvSpPr>
          <p:cNvPr id="7" name="Footer Placeholder 5">
            <a:extLst>
              <a:ext uri="{FF2B5EF4-FFF2-40B4-BE49-F238E27FC236}">
                <a16:creationId xmlns:a16="http://schemas.microsoft.com/office/drawing/2014/main" id="{1A925383-C6AD-5164-DFFE-EBE7C49FB182}"/>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
        <p:nvSpPr>
          <p:cNvPr id="9" name="Rectangle 8">
            <a:extLst>
              <a:ext uri="{FF2B5EF4-FFF2-40B4-BE49-F238E27FC236}">
                <a16:creationId xmlns:a16="http://schemas.microsoft.com/office/drawing/2014/main" id="{BE99A5B4-3B95-87A2-434A-D25356D4BDBF}"/>
              </a:ext>
            </a:extLst>
          </p:cNvPr>
          <p:cNvSpPr/>
          <p:nvPr/>
        </p:nvSpPr>
        <p:spPr>
          <a:xfrm>
            <a:off x="0" y="1160462"/>
            <a:ext cx="9144000" cy="71791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10" name="TextBox 9">
            <a:extLst>
              <a:ext uri="{FF2B5EF4-FFF2-40B4-BE49-F238E27FC236}">
                <a16:creationId xmlns:a16="http://schemas.microsoft.com/office/drawing/2014/main" id="{566CB545-5C30-603D-5D94-50B6061F7C11}"/>
              </a:ext>
            </a:extLst>
          </p:cNvPr>
          <p:cNvSpPr txBox="1"/>
          <p:nvPr/>
        </p:nvSpPr>
        <p:spPr>
          <a:xfrm>
            <a:off x="380998" y="1205015"/>
            <a:ext cx="8382001" cy="646331"/>
          </a:xfrm>
          <a:prstGeom prst="rect">
            <a:avLst/>
          </a:prstGeom>
          <a:noFill/>
        </p:spPr>
        <p:txBody>
          <a:bodyPr wrap="square">
            <a:spAutoFit/>
          </a:bodyPr>
          <a:lstStyle/>
          <a:p>
            <a:pPr marL="0" indent="0" algn="ctr">
              <a:buFont typeface="Arial" panose="020B0604020202020204" pitchFamily="34" charset="0"/>
              <a:buNone/>
            </a:pPr>
            <a:r>
              <a:rPr lang="en-US" sz="1800" dirty="0">
                <a:solidFill>
                  <a:schemeClr val="bg1"/>
                </a:solidFill>
                <a:latin typeface="GT Walsheim LC Bold" pitchFamily="2" charset="0"/>
                <a:cs typeface="GT Walsheim LC Bold" pitchFamily="2" charset="0"/>
              </a:rPr>
              <a:t>DGT is acting as the primary financial advisor for the city during this project’s development and planning</a:t>
            </a:r>
          </a:p>
        </p:txBody>
      </p:sp>
    </p:spTree>
    <p:extLst>
      <p:ext uri="{BB962C8B-B14F-4D97-AF65-F5344CB8AC3E}">
        <p14:creationId xmlns:p14="http://schemas.microsoft.com/office/powerpoint/2010/main" val="2886789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D1B5FB-0761-4F3B-C63C-2C350523FB00}"/>
              </a:ext>
            </a:extLst>
          </p:cNvPr>
          <p:cNvSpPr>
            <a:spLocks noGrp="1"/>
          </p:cNvSpPr>
          <p:nvPr>
            <p:ph type="title"/>
          </p:nvPr>
        </p:nvSpPr>
        <p:spPr/>
        <p:txBody>
          <a:bodyPr/>
          <a:lstStyle/>
          <a:p>
            <a:r>
              <a:rPr lang="en-US"/>
              <a:t>Strategic context</a:t>
            </a:r>
          </a:p>
        </p:txBody>
      </p:sp>
      <p:sp>
        <p:nvSpPr>
          <p:cNvPr id="5" name="Slide Number Placeholder 4">
            <a:extLst>
              <a:ext uri="{FF2B5EF4-FFF2-40B4-BE49-F238E27FC236}">
                <a16:creationId xmlns:a16="http://schemas.microsoft.com/office/drawing/2014/main" id="{CE787E8D-0E11-123B-DDA8-20576BDE0255}"/>
              </a:ext>
            </a:extLst>
          </p:cNvPr>
          <p:cNvSpPr>
            <a:spLocks noGrp="1"/>
          </p:cNvSpPr>
          <p:nvPr>
            <p:ph type="sldNum" sz="quarter" idx="4"/>
          </p:nvPr>
        </p:nvSpPr>
        <p:spPr/>
        <p:txBody>
          <a:bodyPr/>
          <a:lstStyle/>
          <a:p>
            <a:fld id="{1AB31D9B-80B6-41F8-B283-556E26E6158E}" type="slidenum">
              <a:rPr lang="en-GB" smtClean="0"/>
              <a:pPr/>
              <a:t>8</a:t>
            </a:fld>
            <a:endParaRPr lang="en-GB"/>
          </a:p>
        </p:txBody>
      </p:sp>
      <p:sp>
        <p:nvSpPr>
          <p:cNvPr id="3" name="Footer Placeholder 5">
            <a:extLst>
              <a:ext uri="{FF2B5EF4-FFF2-40B4-BE49-F238E27FC236}">
                <a16:creationId xmlns:a16="http://schemas.microsoft.com/office/drawing/2014/main" id="{7792EBC9-7528-F303-CFF2-CB2244CF7E73}"/>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583316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F5571-F472-CEFA-5A89-3908500FB840}"/>
              </a:ext>
            </a:extLst>
          </p:cNvPr>
          <p:cNvSpPr>
            <a:spLocks noGrp="1"/>
          </p:cNvSpPr>
          <p:nvPr>
            <p:ph type="title"/>
          </p:nvPr>
        </p:nvSpPr>
        <p:spPr>
          <a:xfrm>
            <a:off x="381005" y="508005"/>
            <a:ext cx="5627909" cy="346249"/>
          </a:xfrm>
        </p:spPr>
        <p:txBody>
          <a:bodyPr/>
          <a:lstStyle/>
          <a:p>
            <a:r>
              <a:rPr lang="en-US"/>
              <a:t>Executive Summary</a:t>
            </a:r>
            <a:endParaRPr lang="en-CA"/>
          </a:p>
        </p:txBody>
      </p:sp>
      <p:sp>
        <p:nvSpPr>
          <p:cNvPr id="4" name="Slide Number Placeholder 3">
            <a:extLst>
              <a:ext uri="{FF2B5EF4-FFF2-40B4-BE49-F238E27FC236}">
                <a16:creationId xmlns:a16="http://schemas.microsoft.com/office/drawing/2014/main" id="{1F6ABF63-BD4B-3026-AF94-AE07CD6BD40A}"/>
              </a:ext>
            </a:extLst>
          </p:cNvPr>
          <p:cNvSpPr>
            <a:spLocks noGrp="1"/>
          </p:cNvSpPr>
          <p:nvPr>
            <p:ph type="sldNum" sz="quarter" idx="4"/>
          </p:nvPr>
        </p:nvSpPr>
        <p:spPr/>
        <p:txBody>
          <a:bodyPr/>
          <a:lstStyle/>
          <a:p>
            <a:fld id="{1AB31D9B-80B6-41F8-B283-556E26E6158E}" type="slidenum">
              <a:rPr lang="en-GB" smtClean="0">
                <a:solidFill>
                  <a:schemeClr val="tx1"/>
                </a:solidFill>
              </a:rPr>
              <a:pPr/>
              <a:t>9</a:t>
            </a:fld>
            <a:endParaRPr lang="en-GB">
              <a:solidFill>
                <a:schemeClr val="tx1"/>
              </a:solidFill>
            </a:endParaRPr>
          </a:p>
        </p:txBody>
      </p:sp>
      <p:sp>
        <p:nvSpPr>
          <p:cNvPr id="5" name="Text Placeholder 1">
            <a:extLst>
              <a:ext uri="{FF2B5EF4-FFF2-40B4-BE49-F238E27FC236}">
                <a16:creationId xmlns:a16="http://schemas.microsoft.com/office/drawing/2014/main" id="{44F43D08-4113-6784-F4CC-0E10A7364D1D}"/>
              </a:ext>
            </a:extLst>
          </p:cNvPr>
          <p:cNvSpPr txBox="1">
            <a:spLocks/>
          </p:cNvSpPr>
          <p:nvPr/>
        </p:nvSpPr>
        <p:spPr>
          <a:xfrm>
            <a:off x="381004" y="1003200"/>
            <a:ext cx="5627909" cy="4503736"/>
          </a:xfrm>
          <a:prstGeom prst="rect">
            <a:avLst/>
          </a:prstGeom>
        </p:spPr>
        <p:txBody>
          <a:bodyPr lIns="0" tIns="0" rIns="0" bIns="0"/>
          <a:lstStyle>
            <a:lvl1pPr marL="200020" indent="-200020" algn="l" defTabSz="552479" rtl="0" eaLnBrk="1" latinLnBrk="0" hangingPunct="1">
              <a:lnSpc>
                <a:spcPct val="100000"/>
              </a:lnSpc>
              <a:spcBef>
                <a:spcPts val="0"/>
              </a:spcBef>
              <a:spcAft>
                <a:spcPts val="450"/>
              </a:spcAft>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1pPr>
            <a:lvl2pPr marL="400040" indent="-198830" algn="l" defTabSz="552479" rtl="0" eaLnBrk="1" latinLnBrk="0" hangingPunct="1">
              <a:lnSpc>
                <a:spcPct val="100000"/>
              </a:lnSpc>
              <a:spcBef>
                <a:spcPts val="0"/>
              </a:spcBef>
              <a:spcAft>
                <a:spcPts val="450"/>
              </a:spcAft>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2pPr>
            <a:lvl3pPr marL="609585" indent="-197639" algn="l" defTabSz="676258" rtl="0" eaLnBrk="1" latinLnBrk="0" hangingPunct="1">
              <a:lnSpc>
                <a:spcPct val="100000"/>
              </a:lnSpc>
              <a:spcBef>
                <a:spcPts val="0"/>
              </a:spcBef>
              <a:spcAft>
                <a:spcPts val="45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0" indent="0" algn="l" defTabSz="552479" rtl="0" eaLnBrk="1" latinLnBrk="0" hangingPunct="1">
              <a:lnSpc>
                <a:spcPct val="100000"/>
              </a:lnSpc>
              <a:spcBef>
                <a:spcPts val="0"/>
              </a:spcBef>
              <a:spcAft>
                <a:spcPts val="450"/>
              </a:spcAft>
              <a:buFont typeface="Arial" panose="020B0604020202020204" pitchFamily="34" charset="0"/>
              <a:buNone/>
              <a:defRPr lang="en-US" sz="1800" b="0" kern="1200" dirty="0">
                <a:solidFill>
                  <a:schemeClr val="tx1"/>
                </a:solidFill>
                <a:latin typeface="Arial" panose="020B0604020202020204" pitchFamily="34" charset="0"/>
                <a:ea typeface="+mn-ea"/>
                <a:cs typeface="Arial" panose="020B0604020202020204" pitchFamily="34" charset="0"/>
              </a:defRPr>
            </a:lvl4pPr>
            <a:lvl5pPr marL="266693" indent="-266693" algn="l" defTabSz="552479" rtl="0" eaLnBrk="1" latinLnBrk="0" hangingPunct="1">
              <a:lnSpc>
                <a:spcPct val="100000"/>
              </a:lnSpc>
              <a:spcBef>
                <a:spcPts val="0"/>
              </a:spcBef>
              <a:spcAft>
                <a:spcPts val="450"/>
              </a:spcAft>
              <a:buFont typeface="+mj-lt"/>
              <a:buAutoNum type="arabicPeriod"/>
              <a:defRPr sz="1800" kern="1200">
                <a:solidFill>
                  <a:schemeClr val="tx1"/>
                </a:solidFill>
                <a:latin typeface="Arial" panose="020B0604020202020204" pitchFamily="34" charset="0"/>
                <a:ea typeface="+mn-ea"/>
                <a:cs typeface="Arial" panose="020B0604020202020204" pitchFamily="34" charset="0"/>
              </a:defRPr>
            </a:lvl5pPr>
            <a:lvl6pPr marL="542912" indent="-265503" algn="l" defTabSz="552479" rtl="0" eaLnBrk="1" latinLnBrk="0" hangingPunct="1">
              <a:lnSpc>
                <a:spcPct val="100000"/>
              </a:lnSpc>
              <a:spcBef>
                <a:spcPts val="0"/>
              </a:spcBef>
              <a:spcAft>
                <a:spcPts val="450"/>
              </a:spcAft>
              <a:buFont typeface="+mj-lt"/>
              <a:buAutoNum type="alphaLcPeriod"/>
              <a:tabLst/>
              <a:defRPr sz="1800" b="0" kern="1200">
                <a:solidFill>
                  <a:schemeClr val="tx1"/>
                </a:solidFill>
                <a:latin typeface="Arial" panose="020B0604020202020204" pitchFamily="34" charset="0"/>
                <a:ea typeface="+mn-ea"/>
                <a:cs typeface="Arial" panose="020B0604020202020204" pitchFamily="34" charset="0"/>
              </a:defRPr>
            </a:lvl6pPr>
            <a:lvl7pPr marL="0" indent="0" algn="l" defTabSz="552479" rtl="0" eaLnBrk="1" latinLnBrk="0" hangingPunct="1">
              <a:lnSpc>
                <a:spcPct val="100000"/>
              </a:lnSpc>
              <a:spcBef>
                <a:spcPts val="0"/>
              </a:spcBef>
              <a:spcAft>
                <a:spcPts val="450"/>
              </a:spcAft>
              <a:buFont typeface="Arial" panose="020B0604020202020204" pitchFamily="34" charset="0"/>
              <a:buNone/>
              <a:defRPr lang="en-US" sz="2400" b="1" kern="1200" dirty="0">
                <a:solidFill>
                  <a:schemeClr val="tx1"/>
                </a:solidFill>
                <a:latin typeface="Arial" panose="020B0604020202020204" pitchFamily="34" charset="0"/>
                <a:ea typeface="+mn-ea"/>
                <a:cs typeface="Arial" panose="020B0604020202020204" pitchFamily="34" charset="0"/>
              </a:defRPr>
            </a:lvl7pPr>
            <a:lvl8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accent1"/>
                </a:solidFill>
                <a:latin typeface="Arial" panose="020B0604020202020204" pitchFamily="34" charset="0"/>
                <a:ea typeface="+mn-ea"/>
                <a:cs typeface="Arial" panose="020B0604020202020204" pitchFamily="34" charset="0"/>
              </a:defRPr>
            </a:lvl8pPr>
            <a:lvl9pPr marL="0" indent="0" algn="l" defTabSz="552479" rtl="0" eaLnBrk="1" latinLnBrk="0" hangingPunct="1">
              <a:lnSpc>
                <a:spcPct val="100000"/>
              </a:lnSpc>
              <a:spcBef>
                <a:spcPts val="0"/>
              </a:spcBef>
              <a:spcAft>
                <a:spcPts val="450"/>
              </a:spcAft>
              <a:buFont typeface="Arial" panose="020B0604020202020204" pitchFamily="34" charset="0"/>
              <a:buNone/>
              <a:defRPr lang="en-US" sz="1800" b="1" kern="1200" dirty="0">
                <a:solidFill>
                  <a:schemeClr val="tx1"/>
                </a:solidFill>
                <a:latin typeface="Arial" panose="020B0604020202020204" pitchFamily="34" charset="0"/>
                <a:ea typeface="+mn-ea"/>
                <a:cs typeface="Arial" panose="020B0604020202020204" pitchFamily="34" charset="0"/>
              </a:defRPr>
            </a:lvl9pPr>
          </a:lstStyle>
          <a:p>
            <a:pPr marL="0" indent="0">
              <a:spcAft>
                <a:spcPts val="0"/>
              </a:spcAft>
              <a:buFont typeface="Arial" panose="020B0604020202020204" pitchFamily="34" charset="0"/>
              <a:buNone/>
            </a:pPr>
            <a:r>
              <a:rPr lang="en-US" sz="1400" dirty="0">
                <a:latin typeface="GT Walsheim LC Light" pitchFamily="2" charset="0"/>
                <a:cs typeface="GT Walsheim LC Light" pitchFamily="2" charset="0"/>
              </a:rPr>
              <a:t>Port Colborne’s water and wastewater network is expanding:</a:t>
            </a:r>
          </a:p>
          <a:p>
            <a:pPr marL="0" indent="0">
              <a:spcAft>
                <a:spcPts val="0"/>
              </a:spcAft>
              <a:buFont typeface="Arial" panose="020B0604020202020204" pitchFamily="34" charset="0"/>
              <a:buNone/>
            </a:pPr>
            <a:endParaRPr lang="en-CA" sz="1400" b="0" i="0" dirty="0">
              <a:effectLst/>
              <a:latin typeface="GT Walsheim LC Light" pitchFamily="2" charset="0"/>
              <a:cs typeface="GT Walsheim LC Light" pitchFamily="2" charset="0"/>
            </a:endParaRPr>
          </a:p>
          <a:p>
            <a:pPr>
              <a:spcAft>
                <a:spcPts val="1200"/>
              </a:spcAft>
            </a:pPr>
            <a:r>
              <a:rPr lang="en-CA" sz="1400" dirty="0">
                <a:latin typeface="GT Walsheim LC Light" pitchFamily="2" charset="0"/>
                <a:cs typeface="GT Walsheim LC Light" pitchFamily="2" charset="0"/>
              </a:rPr>
              <a:t>To support the planned development of a lithium-ion battery facility in Port Colborne by Asahi Kasai (“AK”) the city has been asked to expand its water and wase water capabilities to service the manufacturing facility worth $1.6 billion. </a:t>
            </a:r>
          </a:p>
          <a:p>
            <a:pPr>
              <a:spcAft>
                <a:spcPts val="1200"/>
              </a:spcAft>
            </a:pPr>
            <a:r>
              <a:rPr lang="en-CA" sz="1400" b="0" i="0" dirty="0">
                <a:effectLst/>
                <a:latin typeface="GT Walsheim LC Light" pitchFamily="2" charset="0"/>
                <a:cs typeface="GT Walsheim LC Light" pitchFamily="2" charset="0"/>
              </a:rPr>
              <a:t>The City has executed an agreement with AK regarding the terms of </a:t>
            </a:r>
            <a:r>
              <a:rPr lang="en-CA" sz="1400" dirty="0">
                <a:latin typeface="GT Walsheim LC Light" pitchFamily="2" charset="0"/>
                <a:cs typeface="GT Walsheim LC Light" pitchFamily="2" charset="0"/>
              </a:rPr>
              <a:t>an agreement that would provide a minimum purchase of water and wastewater volume to provide certainty regarding the usage of the planned water and wastewater network expansion.</a:t>
            </a:r>
          </a:p>
          <a:p>
            <a:pPr>
              <a:spcAft>
                <a:spcPts val="1200"/>
              </a:spcAft>
            </a:pPr>
            <a:r>
              <a:rPr lang="en-US" sz="1400" dirty="0">
                <a:latin typeface="GT Walsheim LC Light" pitchFamily="2" charset="0"/>
                <a:cs typeface="GT Walsheim LC Light" pitchFamily="2" charset="0"/>
              </a:rPr>
              <a:t>The City’s preliminary estimates place the total project funding requirement at $32.4 million, with financing to be evenly shared between public and private lenders. Debt repayment will be sourced from revenues generated under the Master Purchase Agreement (MPA) with AK.</a:t>
            </a:r>
          </a:p>
          <a:p>
            <a:pPr>
              <a:spcAft>
                <a:spcPts val="1200"/>
              </a:spcAft>
            </a:pPr>
            <a:r>
              <a:rPr lang="en-CA" sz="1400" dirty="0">
                <a:latin typeface="GT Walsheim LC Light" pitchFamily="2" charset="0"/>
                <a:cs typeface="GT Walsheim LC Light" pitchFamily="2" charset="0"/>
              </a:rPr>
              <a:t>The current proposal involves setting up a municipal services corporation (“MSC”) that will be classified as a government business enterprise (“GBE”) for accounting purposes, to hold and operate this Investment.</a:t>
            </a:r>
          </a:p>
          <a:p>
            <a:pPr>
              <a:spcAft>
                <a:spcPts val="1200"/>
              </a:spcAft>
            </a:pPr>
            <a:r>
              <a:rPr lang="en-CA" sz="1400" dirty="0">
                <a:latin typeface="GT Walsheim LC Light" pitchFamily="2" charset="0"/>
                <a:cs typeface="GT Walsheim LC Light" pitchFamily="2" charset="0"/>
              </a:rPr>
              <a:t>The MSC will be 100% municipally owned, governed by an independent board and will allow infrastructure expansion, debt capacity optimization and long-term service sustainability.</a:t>
            </a:r>
          </a:p>
          <a:p>
            <a:pPr marL="0" indent="0">
              <a:spcAft>
                <a:spcPts val="1200"/>
              </a:spcAft>
              <a:buNone/>
            </a:pPr>
            <a:endParaRPr lang="en-CA" sz="1400" b="0" i="0" dirty="0">
              <a:effectLst/>
              <a:latin typeface="GT Walsheim LC Light" pitchFamily="2" charset="0"/>
              <a:cs typeface="GT Walsheim LC Light" pitchFamily="2" charset="0"/>
            </a:endParaRPr>
          </a:p>
        </p:txBody>
      </p:sp>
      <p:sp>
        <p:nvSpPr>
          <p:cNvPr id="8" name="Rectangle 7">
            <a:extLst>
              <a:ext uri="{FF2B5EF4-FFF2-40B4-BE49-F238E27FC236}">
                <a16:creationId xmlns:a16="http://schemas.microsoft.com/office/drawing/2014/main" id="{10D63558-8384-D350-2291-DE27C2623840}"/>
              </a:ext>
            </a:extLst>
          </p:cNvPr>
          <p:cNvSpPr/>
          <p:nvPr/>
        </p:nvSpPr>
        <p:spPr>
          <a:xfrm>
            <a:off x="6204855" y="2178"/>
            <a:ext cx="2939142" cy="4261898"/>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CA" sz="2400">
              <a:solidFill>
                <a:schemeClr val="bg1"/>
              </a:solidFill>
            </a:endParaRPr>
          </a:p>
        </p:txBody>
      </p:sp>
      <p:sp>
        <p:nvSpPr>
          <p:cNvPr id="34" name="TextBox 33">
            <a:extLst>
              <a:ext uri="{FF2B5EF4-FFF2-40B4-BE49-F238E27FC236}">
                <a16:creationId xmlns:a16="http://schemas.microsoft.com/office/drawing/2014/main" id="{ECBF6003-9C24-5DCC-2D82-82C6755A048A}"/>
              </a:ext>
            </a:extLst>
          </p:cNvPr>
          <p:cNvSpPr txBox="1"/>
          <p:nvPr/>
        </p:nvSpPr>
        <p:spPr>
          <a:xfrm>
            <a:off x="7389122" y="502253"/>
            <a:ext cx="1319213" cy="430887"/>
          </a:xfrm>
          <a:prstGeom prst="rect">
            <a:avLst/>
          </a:prstGeom>
          <a:noFill/>
        </p:spPr>
        <p:txBody>
          <a:bodyPr wrap="square" lIns="0" tIns="0" rIns="0" bIns="0">
            <a:spAutoFit/>
          </a:bodyPr>
          <a:lstStyle/>
          <a:p>
            <a:r>
              <a:rPr lang="en-US" sz="2800" b="1">
                <a:solidFill>
                  <a:schemeClr val="accent2"/>
                </a:solidFill>
                <a:latin typeface="GT Walsheim LC Light" pitchFamily="2" charset="0"/>
                <a:cs typeface="GT Walsheim LC Light" pitchFamily="2" charset="0"/>
              </a:rPr>
              <a:t>5km</a:t>
            </a:r>
            <a:endParaRPr lang="en-CA" sz="1050" b="1">
              <a:solidFill>
                <a:schemeClr val="accent2"/>
              </a:solidFill>
              <a:latin typeface="GT Walsheim LC Light" pitchFamily="2" charset="0"/>
              <a:cs typeface="GT Walsheim LC Light" pitchFamily="2" charset="0"/>
            </a:endParaRPr>
          </a:p>
        </p:txBody>
      </p:sp>
      <p:sp>
        <p:nvSpPr>
          <p:cNvPr id="35" name="TextBox 34">
            <a:extLst>
              <a:ext uri="{FF2B5EF4-FFF2-40B4-BE49-F238E27FC236}">
                <a16:creationId xmlns:a16="http://schemas.microsoft.com/office/drawing/2014/main" id="{B5531D6D-297B-8B50-51F0-56E92BE92C01}"/>
              </a:ext>
            </a:extLst>
          </p:cNvPr>
          <p:cNvSpPr txBox="1"/>
          <p:nvPr/>
        </p:nvSpPr>
        <p:spPr>
          <a:xfrm>
            <a:off x="7389122" y="919606"/>
            <a:ext cx="1319213" cy="276999"/>
          </a:xfrm>
          <a:prstGeom prst="rect">
            <a:avLst/>
          </a:prstGeom>
          <a:noFill/>
        </p:spPr>
        <p:txBody>
          <a:bodyPr wrap="square" lIns="0" tIns="0" rIns="0" bIns="0">
            <a:spAutoFit/>
          </a:bodyPr>
          <a:lstStyle/>
          <a:p>
            <a:r>
              <a:rPr lang="en-US">
                <a:latin typeface="GT Walsheim LC Light" pitchFamily="2" charset="0"/>
                <a:cs typeface="GT Walsheim LC Light" pitchFamily="2" charset="0"/>
              </a:rPr>
              <a:t>Of new pipe added to Port Colborne’s network</a:t>
            </a:r>
            <a:endParaRPr lang="en-CA">
              <a:latin typeface="GT Walsheim LC Light" pitchFamily="2" charset="0"/>
              <a:cs typeface="GT Walsheim LC Light" pitchFamily="2" charset="0"/>
            </a:endParaRPr>
          </a:p>
        </p:txBody>
      </p:sp>
      <p:sp>
        <p:nvSpPr>
          <p:cNvPr id="36" name="TextBox 35">
            <a:extLst>
              <a:ext uri="{FF2B5EF4-FFF2-40B4-BE49-F238E27FC236}">
                <a16:creationId xmlns:a16="http://schemas.microsoft.com/office/drawing/2014/main" id="{505D328B-E639-44E2-45AF-88A9F689EC83}"/>
              </a:ext>
            </a:extLst>
          </p:cNvPr>
          <p:cNvSpPr txBox="1"/>
          <p:nvPr/>
        </p:nvSpPr>
        <p:spPr>
          <a:xfrm>
            <a:off x="7389122" y="1330979"/>
            <a:ext cx="1319213" cy="430887"/>
          </a:xfrm>
          <a:prstGeom prst="rect">
            <a:avLst/>
          </a:prstGeom>
          <a:noFill/>
        </p:spPr>
        <p:txBody>
          <a:bodyPr wrap="square" lIns="0" tIns="0" rIns="0" bIns="0">
            <a:spAutoFit/>
          </a:bodyPr>
          <a:lstStyle/>
          <a:p>
            <a:r>
              <a:rPr lang="en-US" sz="2800" b="1">
                <a:solidFill>
                  <a:schemeClr val="accent2"/>
                </a:solidFill>
                <a:latin typeface="GT Walsheim LC Light" pitchFamily="2" charset="0"/>
                <a:cs typeface="GT Walsheim LC Light" pitchFamily="2" charset="0"/>
              </a:rPr>
              <a:t>12%</a:t>
            </a:r>
            <a:endParaRPr lang="en-CA" sz="1050" b="1" baseline="30000">
              <a:solidFill>
                <a:schemeClr val="accent2"/>
              </a:solidFill>
              <a:latin typeface="GT Walsheim LC Light" pitchFamily="2" charset="0"/>
              <a:cs typeface="GT Walsheim LC Light" pitchFamily="2" charset="0"/>
            </a:endParaRPr>
          </a:p>
        </p:txBody>
      </p:sp>
      <p:sp>
        <p:nvSpPr>
          <p:cNvPr id="37" name="TextBox 36">
            <a:extLst>
              <a:ext uri="{FF2B5EF4-FFF2-40B4-BE49-F238E27FC236}">
                <a16:creationId xmlns:a16="http://schemas.microsoft.com/office/drawing/2014/main" id="{BB044610-CA42-B019-32F2-1C6C6754F0EA}"/>
              </a:ext>
            </a:extLst>
          </p:cNvPr>
          <p:cNvSpPr txBox="1"/>
          <p:nvPr/>
        </p:nvSpPr>
        <p:spPr>
          <a:xfrm>
            <a:off x="7389122" y="1740712"/>
            <a:ext cx="1507990" cy="553998"/>
          </a:xfrm>
          <a:prstGeom prst="rect">
            <a:avLst/>
          </a:prstGeom>
          <a:noFill/>
        </p:spPr>
        <p:txBody>
          <a:bodyPr wrap="square" lIns="0" tIns="0" rIns="0" bIns="0">
            <a:spAutoFit/>
          </a:bodyPr>
          <a:lstStyle/>
          <a:p>
            <a:r>
              <a:rPr lang="en-US">
                <a:latin typeface="GT Walsheim LC Light" pitchFamily="2" charset="0"/>
                <a:cs typeface="GT Walsheim LC Light" pitchFamily="2" charset="0"/>
              </a:rPr>
              <a:t>Projected increased to property tax base upon completion of Phase 1 of the project</a:t>
            </a:r>
            <a:r>
              <a:rPr lang="en-US" baseline="30000">
                <a:latin typeface="GT Walsheim LC Light" pitchFamily="2" charset="0"/>
                <a:cs typeface="GT Walsheim LC Light" pitchFamily="2" charset="0"/>
              </a:rPr>
              <a:t>1</a:t>
            </a:r>
            <a:endParaRPr lang="en-CA" baseline="30000">
              <a:latin typeface="GT Walsheim LC Light" pitchFamily="2" charset="0"/>
              <a:cs typeface="GT Walsheim LC Light" pitchFamily="2" charset="0"/>
            </a:endParaRPr>
          </a:p>
        </p:txBody>
      </p:sp>
      <p:sp>
        <p:nvSpPr>
          <p:cNvPr id="38" name="TextBox 37">
            <a:extLst>
              <a:ext uri="{FF2B5EF4-FFF2-40B4-BE49-F238E27FC236}">
                <a16:creationId xmlns:a16="http://schemas.microsoft.com/office/drawing/2014/main" id="{83EB960A-AF71-E0BF-1692-BC381B240BC6}"/>
              </a:ext>
            </a:extLst>
          </p:cNvPr>
          <p:cNvSpPr txBox="1"/>
          <p:nvPr/>
        </p:nvSpPr>
        <p:spPr>
          <a:xfrm>
            <a:off x="7389122" y="3222320"/>
            <a:ext cx="1319213" cy="430887"/>
          </a:xfrm>
          <a:prstGeom prst="rect">
            <a:avLst/>
          </a:prstGeom>
          <a:noFill/>
        </p:spPr>
        <p:txBody>
          <a:bodyPr wrap="square" lIns="0" tIns="0" rIns="0" bIns="0">
            <a:spAutoFit/>
          </a:bodyPr>
          <a:lstStyle/>
          <a:p>
            <a:r>
              <a:rPr lang="en-US" sz="2800" b="1">
                <a:solidFill>
                  <a:schemeClr val="accent2"/>
                </a:solidFill>
                <a:latin typeface="GT Walsheim LC Light" pitchFamily="2" charset="0"/>
                <a:cs typeface="GT Walsheim LC Light" pitchFamily="2" charset="0"/>
              </a:rPr>
              <a:t>2027</a:t>
            </a:r>
            <a:endParaRPr lang="en-CA" sz="1050" b="1">
              <a:solidFill>
                <a:schemeClr val="accent2"/>
              </a:solidFill>
              <a:latin typeface="GT Walsheim LC Light" pitchFamily="2" charset="0"/>
              <a:cs typeface="GT Walsheim LC Light" pitchFamily="2" charset="0"/>
            </a:endParaRPr>
          </a:p>
        </p:txBody>
      </p:sp>
      <p:sp>
        <p:nvSpPr>
          <p:cNvPr id="39" name="TextBox 38">
            <a:extLst>
              <a:ext uri="{FF2B5EF4-FFF2-40B4-BE49-F238E27FC236}">
                <a16:creationId xmlns:a16="http://schemas.microsoft.com/office/drawing/2014/main" id="{C8E6B1B4-D8E8-AAC4-10BC-62FC8FF2750E}"/>
              </a:ext>
            </a:extLst>
          </p:cNvPr>
          <p:cNvSpPr txBox="1"/>
          <p:nvPr/>
        </p:nvSpPr>
        <p:spPr>
          <a:xfrm>
            <a:off x="7389122" y="3632053"/>
            <a:ext cx="1319213" cy="415498"/>
          </a:xfrm>
          <a:prstGeom prst="rect">
            <a:avLst/>
          </a:prstGeom>
          <a:noFill/>
        </p:spPr>
        <p:txBody>
          <a:bodyPr wrap="square" lIns="0" tIns="0" rIns="0" bIns="0">
            <a:spAutoFit/>
          </a:bodyPr>
          <a:lstStyle/>
          <a:p>
            <a:r>
              <a:rPr lang="en-US">
                <a:latin typeface="GT Walsheim LC Light" pitchFamily="2" charset="0"/>
                <a:cs typeface="GT Walsheim LC Light" pitchFamily="2" charset="0"/>
              </a:rPr>
              <a:t>Expected year for system expansion to be brought online</a:t>
            </a:r>
            <a:endParaRPr lang="en-CA">
              <a:latin typeface="GT Walsheim LC Light" pitchFamily="2" charset="0"/>
              <a:cs typeface="GT Walsheim LC Light" pitchFamily="2" charset="0"/>
            </a:endParaRPr>
          </a:p>
        </p:txBody>
      </p:sp>
      <p:sp>
        <p:nvSpPr>
          <p:cNvPr id="49" name="Freeform: Shape 48" descr="Sunset silhouette of scaffolding in construction site">
            <a:extLst>
              <a:ext uri="{FF2B5EF4-FFF2-40B4-BE49-F238E27FC236}">
                <a16:creationId xmlns:a16="http://schemas.microsoft.com/office/drawing/2014/main" id="{2DA8F0AA-ACAD-DEB8-F304-6813D24969DF}"/>
              </a:ext>
            </a:extLst>
          </p:cNvPr>
          <p:cNvSpPr/>
          <p:nvPr/>
        </p:nvSpPr>
        <p:spPr>
          <a:xfrm>
            <a:off x="6204857" y="4261899"/>
            <a:ext cx="2939143" cy="2596101"/>
          </a:xfrm>
          <a:custGeom>
            <a:avLst/>
            <a:gdLst>
              <a:gd name="connsiteX0" fmla="*/ 0 w 2939143"/>
              <a:gd name="connsiteY0" fmla="*/ 0 h 2596101"/>
              <a:gd name="connsiteX1" fmla="*/ 797522 w 2939143"/>
              <a:gd name="connsiteY1" fmla="*/ 0 h 2596101"/>
              <a:gd name="connsiteX2" fmla="*/ 2141621 w 2939143"/>
              <a:gd name="connsiteY2" fmla="*/ 0 h 2596101"/>
              <a:gd name="connsiteX3" fmla="*/ 2939143 w 2939143"/>
              <a:gd name="connsiteY3" fmla="*/ 0 h 2596101"/>
              <a:gd name="connsiteX4" fmla="*/ 2939143 w 2939143"/>
              <a:gd name="connsiteY4" fmla="*/ 797522 h 2596101"/>
              <a:gd name="connsiteX5" fmla="*/ 2939143 w 2939143"/>
              <a:gd name="connsiteY5" fmla="*/ 1321483 h 2596101"/>
              <a:gd name="connsiteX6" fmla="*/ 2939143 w 2939143"/>
              <a:gd name="connsiteY6" fmla="*/ 1798579 h 2596101"/>
              <a:gd name="connsiteX7" fmla="*/ 2939142 w 2939143"/>
              <a:gd name="connsiteY7" fmla="*/ 1798589 h 2596101"/>
              <a:gd name="connsiteX8" fmla="*/ 2939142 w 2939143"/>
              <a:gd name="connsiteY8" fmla="*/ 2596101 h 2596101"/>
              <a:gd name="connsiteX9" fmla="*/ 2141621 w 2939143"/>
              <a:gd name="connsiteY9" fmla="*/ 2596101 h 2596101"/>
              <a:gd name="connsiteX10" fmla="*/ 1479798 w 2939143"/>
              <a:gd name="connsiteY10" fmla="*/ 2596101 h 2596101"/>
              <a:gd name="connsiteX11" fmla="*/ 797522 w 2939143"/>
              <a:gd name="connsiteY11" fmla="*/ 2596101 h 2596101"/>
              <a:gd name="connsiteX12" fmla="*/ 0 w 2939143"/>
              <a:gd name="connsiteY12" fmla="*/ 1798579 h 2596101"/>
              <a:gd name="connsiteX13" fmla="*/ 0 w 2939143"/>
              <a:gd name="connsiteY13" fmla="*/ 1321483 h 2596101"/>
              <a:gd name="connsiteX14" fmla="*/ 0 w 2939143"/>
              <a:gd name="connsiteY14" fmla="*/ 797522 h 259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39143" h="2596101">
                <a:moveTo>
                  <a:pt x="0" y="0"/>
                </a:moveTo>
                <a:lnTo>
                  <a:pt x="797522" y="0"/>
                </a:lnTo>
                <a:lnTo>
                  <a:pt x="2141621" y="0"/>
                </a:lnTo>
                <a:lnTo>
                  <a:pt x="2939143" y="0"/>
                </a:lnTo>
                <a:lnTo>
                  <a:pt x="2939143" y="797522"/>
                </a:lnTo>
                <a:lnTo>
                  <a:pt x="2939143" y="1321483"/>
                </a:lnTo>
                <a:lnTo>
                  <a:pt x="2939143" y="1798579"/>
                </a:lnTo>
                <a:lnTo>
                  <a:pt x="2939142" y="1798589"/>
                </a:lnTo>
                <a:lnTo>
                  <a:pt x="2939142" y="2596101"/>
                </a:lnTo>
                <a:lnTo>
                  <a:pt x="2141621" y="2596101"/>
                </a:lnTo>
                <a:lnTo>
                  <a:pt x="1479798" y="2596101"/>
                </a:lnTo>
                <a:lnTo>
                  <a:pt x="797522" y="2596101"/>
                </a:lnTo>
                <a:cubicBezTo>
                  <a:pt x="357063" y="2596101"/>
                  <a:pt x="0" y="2239038"/>
                  <a:pt x="0" y="1798579"/>
                </a:cubicBezTo>
                <a:lnTo>
                  <a:pt x="0" y="1321483"/>
                </a:lnTo>
                <a:lnTo>
                  <a:pt x="0" y="797522"/>
                </a:lnTo>
                <a:close/>
              </a:path>
            </a:pathLst>
          </a:custGeom>
          <a:blipFill>
            <a:blip r:embed="rId2"/>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n-CA" sz="2400">
              <a:solidFill>
                <a:schemeClr val="bg1"/>
              </a:solidFill>
            </a:endParaRPr>
          </a:p>
        </p:txBody>
      </p:sp>
      <p:grpSp>
        <p:nvGrpSpPr>
          <p:cNvPr id="11" name="Group 10">
            <a:extLst>
              <a:ext uri="{FF2B5EF4-FFF2-40B4-BE49-F238E27FC236}">
                <a16:creationId xmlns:a16="http://schemas.microsoft.com/office/drawing/2014/main" id="{FE85B824-9A66-B5F4-FA5D-47122C84B25F}"/>
              </a:ext>
            </a:extLst>
          </p:cNvPr>
          <p:cNvGrpSpPr/>
          <p:nvPr/>
        </p:nvGrpSpPr>
        <p:grpSpPr>
          <a:xfrm>
            <a:off x="6499760" y="546147"/>
            <a:ext cx="693420" cy="650458"/>
            <a:chOff x="4511040" y="717696"/>
            <a:chExt cx="693420" cy="650458"/>
          </a:xfrm>
        </p:grpSpPr>
        <p:sp>
          <p:nvSpPr>
            <p:cNvPr id="3" name="Oval 2">
              <a:extLst>
                <a:ext uri="{FF2B5EF4-FFF2-40B4-BE49-F238E27FC236}">
                  <a16:creationId xmlns:a16="http://schemas.microsoft.com/office/drawing/2014/main" id="{85356A82-E03D-6404-9062-20DC4EF869EF}"/>
                </a:ext>
              </a:extLst>
            </p:cNvPr>
            <p:cNvSpPr/>
            <p:nvPr/>
          </p:nvSpPr>
          <p:spPr>
            <a:xfrm>
              <a:off x="4511040" y="717696"/>
              <a:ext cx="693420" cy="650458"/>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pic>
          <p:nvPicPr>
            <p:cNvPr id="10" name="Graphic 9" descr="Excavator with solid fill">
              <a:extLst>
                <a:ext uri="{FF2B5EF4-FFF2-40B4-BE49-F238E27FC236}">
                  <a16:creationId xmlns:a16="http://schemas.microsoft.com/office/drawing/2014/main" id="{03C737D6-D2A6-E425-C475-2D380677F3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6683" y="781858"/>
              <a:ext cx="522133" cy="522133"/>
            </a:xfrm>
            <a:prstGeom prst="rect">
              <a:avLst/>
            </a:prstGeom>
          </p:spPr>
        </p:pic>
      </p:grpSp>
      <p:grpSp>
        <p:nvGrpSpPr>
          <p:cNvPr id="12" name="Group 11">
            <a:extLst>
              <a:ext uri="{FF2B5EF4-FFF2-40B4-BE49-F238E27FC236}">
                <a16:creationId xmlns:a16="http://schemas.microsoft.com/office/drawing/2014/main" id="{3087C063-5383-BB8D-7A39-CEC46E98D6A3}"/>
              </a:ext>
            </a:extLst>
          </p:cNvPr>
          <p:cNvGrpSpPr/>
          <p:nvPr/>
        </p:nvGrpSpPr>
        <p:grpSpPr>
          <a:xfrm>
            <a:off x="6499760" y="1496717"/>
            <a:ext cx="693420" cy="650458"/>
            <a:chOff x="4511040" y="717696"/>
            <a:chExt cx="693420" cy="650458"/>
          </a:xfrm>
        </p:grpSpPr>
        <p:sp>
          <p:nvSpPr>
            <p:cNvPr id="13" name="Oval 12">
              <a:extLst>
                <a:ext uri="{FF2B5EF4-FFF2-40B4-BE49-F238E27FC236}">
                  <a16:creationId xmlns:a16="http://schemas.microsoft.com/office/drawing/2014/main" id="{D8F43C23-99C6-6E21-7A1D-D0F7C4480308}"/>
                </a:ext>
              </a:extLst>
            </p:cNvPr>
            <p:cNvSpPr/>
            <p:nvPr/>
          </p:nvSpPr>
          <p:spPr>
            <a:xfrm>
              <a:off x="4511040" y="717696"/>
              <a:ext cx="693420" cy="650458"/>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pic>
          <p:nvPicPr>
            <p:cNvPr id="14" name="Graphic 13" descr="Dollar with solid fill">
              <a:extLst>
                <a:ext uri="{FF2B5EF4-FFF2-40B4-BE49-F238E27FC236}">
                  <a16:creationId xmlns:a16="http://schemas.microsoft.com/office/drawing/2014/main" id="{00A47F63-0BA9-8A7D-D30F-6ABB4898FA4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596683" y="781858"/>
              <a:ext cx="522133" cy="522133"/>
            </a:xfrm>
            <a:prstGeom prst="rect">
              <a:avLst/>
            </a:prstGeom>
          </p:spPr>
        </p:pic>
      </p:grpSp>
      <p:grpSp>
        <p:nvGrpSpPr>
          <p:cNvPr id="15" name="Group 14">
            <a:extLst>
              <a:ext uri="{FF2B5EF4-FFF2-40B4-BE49-F238E27FC236}">
                <a16:creationId xmlns:a16="http://schemas.microsoft.com/office/drawing/2014/main" id="{4C838AA8-78B2-5BE4-3EFA-925B9B71FC06}"/>
              </a:ext>
            </a:extLst>
          </p:cNvPr>
          <p:cNvGrpSpPr/>
          <p:nvPr/>
        </p:nvGrpSpPr>
        <p:grpSpPr>
          <a:xfrm>
            <a:off x="6499760" y="3306824"/>
            <a:ext cx="693420" cy="650458"/>
            <a:chOff x="4511040" y="717696"/>
            <a:chExt cx="693420" cy="650458"/>
          </a:xfrm>
        </p:grpSpPr>
        <p:sp>
          <p:nvSpPr>
            <p:cNvPr id="16" name="Oval 15">
              <a:extLst>
                <a:ext uri="{FF2B5EF4-FFF2-40B4-BE49-F238E27FC236}">
                  <a16:creationId xmlns:a16="http://schemas.microsoft.com/office/drawing/2014/main" id="{935E5D45-7D1C-29E9-239F-B5F5C0F42E20}"/>
                </a:ext>
              </a:extLst>
            </p:cNvPr>
            <p:cNvSpPr/>
            <p:nvPr/>
          </p:nvSpPr>
          <p:spPr>
            <a:xfrm>
              <a:off x="4511040" y="717696"/>
              <a:ext cx="693420" cy="650458"/>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pic>
          <p:nvPicPr>
            <p:cNvPr id="17" name="Graphic 16" descr="Clock with solid fill">
              <a:extLst>
                <a:ext uri="{FF2B5EF4-FFF2-40B4-BE49-F238E27FC236}">
                  <a16:creationId xmlns:a16="http://schemas.microsoft.com/office/drawing/2014/main" id="{491B79CD-2BEA-9B77-45C9-DA063517752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596683" y="781858"/>
              <a:ext cx="522133" cy="522133"/>
            </a:xfrm>
            <a:prstGeom prst="rect">
              <a:avLst/>
            </a:prstGeom>
          </p:spPr>
        </p:pic>
      </p:grpSp>
      <p:sp>
        <p:nvSpPr>
          <p:cNvPr id="6" name="TextBox 5">
            <a:extLst>
              <a:ext uri="{FF2B5EF4-FFF2-40B4-BE49-F238E27FC236}">
                <a16:creationId xmlns:a16="http://schemas.microsoft.com/office/drawing/2014/main" id="{034A9E98-0247-5407-77BA-1E1EA301B58F}"/>
              </a:ext>
            </a:extLst>
          </p:cNvPr>
          <p:cNvSpPr txBox="1"/>
          <p:nvPr/>
        </p:nvSpPr>
        <p:spPr>
          <a:xfrm>
            <a:off x="7389122" y="2380193"/>
            <a:ext cx="1319213" cy="430887"/>
          </a:xfrm>
          <a:prstGeom prst="rect">
            <a:avLst/>
          </a:prstGeom>
          <a:noFill/>
        </p:spPr>
        <p:txBody>
          <a:bodyPr wrap="square" lIns="0" tIns="0" rIns="0" bIns="0">
            <a:spAutoFit/>
          </a:bodyPr>
          <a:lstStyle/>
          <a:p>
            <a:r>
              <a:rPr lang="en-US" sz="2800" b="1">
                <a:solidFill>
                  <a:schemeClr val="accent2"/>
                </a:solidFill>
                <a:latin typeface="GT Walsheim LC Light" pitchFamily="2" charset="0"/>
                <a:cs typeface="GT Walsheim LC Light" pitchFamily="2" charset="0"/>
              </a:rPr>
              <a:t>300</a:t>
            </a:r>
            <a:endParaRPr lang="en-CA" sz="1050" b="1">
              <a:solidFill>
                <a:schemeClr val="accent2"/>
              </a:solidFill>
              <a:latin typeface="GT Walsheim LC Light" pitchFamily="2" charset="0"/>
              <a:cs typeface="GT Walsheim LC Light" pitchFamily="2" charset="0"/>
            </a:endParaRPr>
          </a:p>
        </p:txBody>
      </p:sp>
      <p:sp>
        <p:nvSpPr>
          <p:cNvPr id="18" name="TextBox 17">
            <a:extLst>
              <a:ext uri="{FF2B5EF4-FFF2-40B4-BE49-F238E27FC236}">
                <a16:creationId xmlns:a16="http://schemas.microsoft.com/office/drawing/2014/main" id="{4216499D-E440-3FDC-031D-AD2FC026470D}"/>
              </a:ext>
            </a:extLst>
          </p:cNvPr>
          <p:cNvSpPr txBox="1"/>
          <p:nvPr/>
        </p:nvSpPr>
        <p:spPr>
          <a:xfrm>
            <a:off x="7389122" y="2789926"/>
            <a:ext cx="1319213" cy="415498"/>
          </a:xfrm>
          <a:prstGeom prst="rect">
            <a:avLst/>
          </a:prstGeom>
          <a:noFill/>
        </p:spPr>
        <p:txBody>
          <a:bodyPr wrap="square" lIns="0" tIns="0" rIns="0" bIns="0">
            <a:spAutoFit/>
          </a:bodyPr>
          <a:lstStyle/>
          <a:p>
            <a:r>
              <a:rPr lang="en-US">
                <a:latin typeface="GT Walsheim LC Light" pitchFamily="2" charset="0"/>
                <a:cs typeface="GT Walsheim LC Light" pitchFamily="2" charset="0"/>
              </a:rPr>
              <a:t>Expected number of jobs to be added following the completion of phase one</a:t>
            </a:r>
            <a:endParaRPr lang="en-CA">
              <a:latin typeface="GT Walsheim LC Light" pitchFamily="2" charset="0"/>
              <a:cs typeface="GT Walsheim LC Light" pitchFamily="2" charset="0"/>
            </a:endParaRPr>
          </a:p>
        </p:txBody>
      </p:sp>
      <p:grpSp>
        <p:nvGrpSpPr>
          <p:cNvPr id="19" name="Group 18">
            <a:extLst>
              <a:ext uri="{FF2B5EF4-FFF2-40B4-BE49-F238E27FC236}">
                <a16:creationId xmlns:a16="http://schemas.microsoft.com/office/drawing/2014/main" id="{96AC9DC8-7E0E-5EC5-2EAE-A10D08986C1C}"/>
              </a:ext>
            </a:extLst>
          </p:cNvPr>
          <p:cNvGrpSpPr/>
          <p:nvPr/>
        </p:nvGrpSpPr>
        <p:grpSpPr>
          <a:xfrm>
            <a:off x="6499760" y="2378100"/>
            <a:ext cx="693420" cy="650458"/>
            <a:chOff x="4511040" y="717696"/>
            <a:chExt cx="693420" cy="650458"/>
          </a:xfrm>
        </p:grpSpPr>
        <p:sp>
          <p:nvSpPr>
            <p:cNvPr id="20" name="Oval 19">
              <a:extLst>
                <a:ext uri="{FF2B5EF4-FFF2-40B4-BE49-F238E27FC236}">
                  <a16:creationId xmlns:a16="http://schemas.microsoft.com/office/drawing/2014/main" id="{0F8ABEFB-962B-033B-37D2-E218700B67DD}"/>
                </a:ext>
              </a:extLst>
            </p:cNvPr>
            <p:cNvSpPr/>
            <p:nvPr/>
          </p:nvSpPr>
          <p:spPr>
            <a:xfrm>
              <a:off x="4511040" y="717696"/>
              <a:ext cx="693420" cy="650458"/>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pic>
          <p:nvPicPr>
            <p:cNvPr id="21" name="Graphic 20" descr="Briefcase with solid fill">
              <a:extLst>
                <a:ext uri="{FF2B5EF4-FFF2-40B4-BE49-F238E27FC236}">
                  <a16:creationId xmlns:a16="http://schemas.microsoft.com/office/drawing/2014/main" id="{F8BB605D-FAEE-1306-68EB-9B5019A53C9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596683" y="781858"/>
              <a:ext cx="522133" cy="522133"/>
            </a:xfrm>
            <a:prstGeom prst="rect">
              <a:avLst/>
            </a:prstGeom>
          </p:spPr>
        </p:pic>
      </p:grpSp>
      <p:sp>
        <p:nvSpPr>
          <p:cNvPr id="22" name="TextBox 21">
            <a:extLst>
              <a:ext uri="{FF2B5EF4-FFF2-40B4-BE49-F238E27FC236}">
                <a16:creationId xmlns:a16="http://schemas.microsoft.com/office/drawing/2014/main" id="{1CA094E2-2ADD-7757-C326-0431055F6A51}"/>
              </a:ext>
            </a:extLst>
          </p:cNvPr>
          <p:cNvSpPr txBox="1"/>
          <p:nvPr/>
        </p:nvSpPr>
        <p:spPr>
          <a:xfrm>
            <a:off x="381000" y="6643295"/>
            <a:ext cx="4057650" cy="180201"/>
          </a:xfrm>
          <a:prstGeom prst="rect">
            <a:avLst/>
          </a:prstGeom>
          <a:noFill/>
        </p:spPr>
        <p:txBody>
          <a:bodyPr wrap="none" lIns="0" tIns="0" rIns="0" bIns="0" rtlCol="0">
            <a:noAutofit/>
          </a:bodyPr>
          <a:lstStyle/>
          <a:p>
            <a:pPr algn="l"/>
            <a:r>
              <a:rPr lang="en-CA" sz="700" baseline="30000">
                <a:latin typeface="GT Walsheim LC" pitchFamily="2" charset="0"/>
                <a:cs typeface="GT Walsheim LC" pitchFamily="2" charset="0"/>
              </a:rPr>
              <a:t>1</a:t>
            </a:r>
            <a:r>
              <a:rPr lang="en-CA" sz="700">
                <a:latin typeface="GT Walsheim LC" pitchFamily="2" charset="0"/>
                <a:cs typeface="GT Walsheim LC" pitchFamily="2" charset="0"/>
              </a:rPr>
              <a:t>Increase achieved after tax increment grant expires in 10 years</a:t>
            </a:r>
          </a:p>
        </p:txBody>
      </p:sp>
      <p:sp>
        <p:nvSpPr>
          <p:cNvPr id="23" name="Footer Placeholder 5">
            <a:extLst>
              <a:ext uri="{FF2B5EF4-FFF2-40B4-BE49-F238E27FC236}">
                <a16:creationId xmlns:a16="http://schemas.microsoft.com/office/drawing/2014/main" id="{550DF8DB-4863-A2F4-509D-460DCE2773DE}"/>
              </a:ext>
            </a:extLst>
          </p:cNvPr>
          <p:cNvSpPr>
            <a:spLocks noGrp="1"/>
          </p:cNvSpPr>
          <p:nvPr>
            <p:ph type="ftr" sz="quarter" idx="3"/>
          </p:nvPr>
        </p:nvSpPr>
        <p:spPr>
          <a:xfrm>
            <a:off x="646433" y="6432347"/>
            <a:ext cx="3024187" cy="92333"/>
          </a:xfrm>
        </p:spPr>
        <p:txBody>
          <a:bodyPr/>
          <a:lstStyle/>
          <a:p>
            <a:r>
              <a:rPr lang="en-US"/>
              <a:t>Port Colborne  </a:t>
            </a:r>
            <a:r>
              <a:rPr lang="en-CA"/>
              <a:t>|  GBE Business Plan – October 2025</a:t>
            </a:r>
          </a:p>
        </p:txBody>
      </p:sp>
    </p:spTree>
    <p:extLst>
      <p:ext uri="{BB962C8B-B14F-4D97-AF65-F5344CB8AC3E}">
        <p14:creationId xmlns:p14="http://schemas.microsoft.com/office/powerpoint/2010/main" val="1109477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wD///////////////////////////////////////////////////////////////////////////////////////////////////////////////////////////////////////////////////////////////////////////////////////////////////////////////////////////////////////////////////////////////////////////////////////////////////////////////////////////////////////////////////////////////////////////////////////////////////////////////////////////////////////////////////////////////////////////////////////////////////////////////8BACAA////////////////AAAO////////AwAAAAIA////////////////////////////////////////////////////////////////////////////////////////////////////////////////////////////////////////////////////////////////////////////////////////////////////////////////////////////////////////////////////////////////////////////////////////////////////////////////////////////////////////////////////////////////////////////////////////////////////////////////////////////////////////////////////////////////////////////////////////////////////////////////////////AgABAP///////wQAAAACABAAC6xJpPnac3RMuCzqp3jcj6UFAAAAAAADAAAAAwADAAAAAQADAAEA////////BAAAAAMAEAALTvTkjIFgbkSRI2ndK1AHK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KxJpPnac3RMuCzqp3jcj6UDRGF0YQAbAAAABExpbmtlZFNoYXBlRGF0YQAFAAAAAAACTmFtZQAZAAAATGlua2VkU2hhcGVzRGF0YVByb3BlcnR5ABBWZXJzaW9uAAAAAAAJTGFzdFdyaXRlAHnh2VWGAQAAAAEA/////8YAxgAAAAVfaWQAEAAAAARO9OSMgWBuRJEjad0rUAcrA0RhdGEAUwAAAAhQcmVzZW50YXRpb25TY2FubmVkRm9yTGlua2VkU2hhcGVzAAECTnVtYmVyRm9ybWF0U2VwYXJhdG9yTW9kZQAKAAAAQXV0b21hdGljAAACTmFtZQAkAAAATGlua2VkU2hhcGVQcmVzZW50YXRpb25TZXR0aW5nc0RhdGEAEFZlcnNpb24AAAAAAAlMYXN0V3JpdGUAreHZVY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120743879279857"/>
  <p:tag name="EMPOWERCHARTSPROPERTIES_B_LENGTH" val="24576"/>
  <p:tag name="MIO_PRESENTATION_LANGUAGE" val="2057"/>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42"/>
  <p:tag name="MIO_EKGUID" val="f9de6dbd-0819-4778-8b38-c9b16a8465d7"/>
  <p:tag name="MIO_DBID" val="B8D51924-5F73-4C32-81A5-4ABBFA34CF79"/>
  <p:tag name="MIO_OBJECTNAME" val="Global Presentation Template 2023"/>
  <p:tag name="MIO_VERSION" val="24.01.2023 12:30:47"/>
  <p:tag name="MIO_LASTDOWNLOADED" val="15.02.2023 16:16:38.123"/>
  <p:tag name="MIO_CDID" val="637e7177-7e89-4e63-ac68-cb3ad981297a"/>
</p:tagLst>
</file>

<file path=ppt/theme/theme1.xml><?xml version="1.0" encoding="utf-8"?>
<a:theme xmlns:a="http://schemas.openxmlformats.org/drawingml/2006/main" name="Grant Thornton 16x9">
  <a:themeElements>
    <a:clrScheme name="GT Empower">
      <a:dk1>
        <a:sysClr val="windowText" lastClr="000000"/>
      </a:dk1>
      <a:lt1>
        <a:sysClr val="window" lastClr="FFFFFF"/>
      </a:lt1>
      <a:dk2>
        <a:srgbClr val="CCC4BD"/>
      </a:dk2>
      <a:lt2>
        <a:srgbClr val="F2F0EE"/>
      </a:lt2>
      <a:accent1>
        <a:srgbClr val="4F2D7F"/>
      </a:accent1>
      <a:accent2>
        <a:srgbClr val="4F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sz="240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2400"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lobal Presentation Template 2023.potx" id="{46A6EE25-CAED-40EC-8DD0-8E1ADD60ADDE}" vid="{C15FD039-2254-4187-BF32-D40153CD95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d412206-8e79-45ef-9691-23ccb32ee0d5" xsi:nil="true"/>
    <lcf76f155ced4ddcb4097134ff3c332f xmlns="322691c4-ecf8-46ef-b0fe-7a37249dada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9B1ED583A15AB46883B7EB1922F495D" ma:contentTypeVersion="15" ma:contentTypeDescription="Create a new document." ma:contentTypeScope="" ma:versionID="5be0c9028a987b7bca691cd253145c20">
  <xsd:schema xmlns:xsd="http://www.w3.org/2001/XMLSchema" xmlns:xs="http://www.w3.org/2001/XMLSchema" xmlns:p="http://schemas.microsoft.com/office/2006/metadata/properties" xmlns:ns2="322691c4-ecf8-46ef-b0fe-7a37249dada6" xmlns:ns3="2d412206-8e79-45ef-9691-23ccb32ee0d5" targetNamespace="http://schemas.microsoft.com/office/2006/metadata/properties" ma:root="true" ma:fieldsID="c239c0fa562a79ee4700df67f2aed6c4" ns2:_="" ns3:_="">
    <xsd:import namespace="322691c4-ecf8-46ef-b0fe-7a37249dada6"/>
    <xsd:import namespace="2d412206-8e79-45ef-9691-23ccb32ee0d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2691c4-ecf8-46ef-b0fe-7a37249da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6307c655-a5ea-4e96-90aa-47045fc94d15"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412206-8e79-45ef-9691-23ccb32ee0d5"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b6772b7-8bb8-4e11-b73f-f5c881fee82e}" ma:internalName="TaxCatchAll" ma:showField="CatchAllData" ma:web="2d412206-8e79-45ef-9691-23ccb32ee0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31ACCF-50DA-4B87-AE10-C04EF8733CB7}">
  <ds:schemaRefs>
    <ds:schemaRef ds:uri="2d412206-8e79-45ef-9691-23ccb32ee0d5"/>
    <ds:schemaRef ds:uri="322691c4-ecf8-46ef-b0fe-7a37249dada6"/>
    <ds:schemaRef ds:uri="3dbb6945-0570-48b2-bc69-b402b8a769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AEC8FFE-569A-4251-BAAA-3516D8736A79}">
  <ds:schemaRefs>
    <ds:schemaRef ds:uri="http://schemas.microsoft.com/sharepoint/v3/contenttype/forms"/>
  </ds:schemaRefs>
</ds:datastoreItem>
</file>

<file path=customXml/itemProps3.xml><?xml version="1.0" encoding="utf-8"?>
<ds:datastoreItem xmlns:ds="http://schemas.openxmlformats.org/officeDocument/2006/customXml" ds:itemID="{0D62BEB3-27C0-4473-81A1-14C9258A2C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2691c4-ecf8-46ef-b0fe-7a37249dada6"/>
    <ds:schemaRef ds:uri="2d412206-8e79-45ef-9691-23ccb32ee0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2</TotalTime>
  <Words>6182</Words>
  <Application>Microsoft Office PowerPoint</Application>
  <PresentationFormat>Letter Paper (8.5x11 in)</PresentationFormat>
  <Paragraphs>457</Paragraphs>
  <Slides>38</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8</vt:i4>
      </vt:variant>
    </vt:vector>
  </HeadingPairs>
  <TitlesOfParts>
    <vt:vector size="44" baseType="lpstr">
      <vt:lpstr>Arial</vt:lpstr>
      <vt:lpstr>Arial Black</vt:lpstr>
      <vt:lpstr>GT Walsheim LC</vt:lpstr>
      <vt:lpstr>GT Walsheim LC Bold</vt:lpstr>
      <vt:lpstr>GT Walsheim LC Light</vt:lpstr>
      <vt:lpstr>Grant Thornton 16x9</vt:lpstr>
      <vt:lpstr>GBE Business Plan </vt:lpstr>
      <vt:lpstr>Disclaimer</vt:lpstr>
      <vt:lpstr>Disclaimer</vt:lpstr>
      <vt:lpstr>Contents</vt:lpstr>
      <vt:lpstr>Purpose and DGT’s Role</vt:lpstr>
      <vt:lpstr>Purpose of the Business Plan</vt:lpstr>
      <vt:lpstr>DGT’s Role in the Business Plan</vt:lpstr>
      <vt:lpstr>Strategic context</vt:lpstr>
      <vt:lpstr>Executive Summary</vt:lpstr>
      <vt:lpstr>Objectives of the Project</vt:lpstr>
      <vt:lpstr>Justification &amp; Strategic Rationale</vt:lpstr>
      <vt:lpstr>Delivery &amp; Oversight</vt:lpstr>
      <vt:lpstr>Service Delivery Model</vt:lpstr>
      <vt:lpstr>Governance Structure</vt:lpstr>
      <vt:lpstr>Risk Management Framework</vt:lpstr>
      <vt:lpstr>Risk Management Framework (continued)</vt:lpstr>
      <vt:lpstr>Environmental &amp; Regulatory Compliance</vt:lpstr>
      <vt:lpstr>Agreements &amp; Financing</vt:lpstr>
      <vt:lpstr>Water and Wastewater Agreement with AK</vt:lpstr>
      <vt:lpstr>Water and Wastewater Agreement with AK (continued) </vt:lpstr>
      <vt:lpstr>Project Funding Overview</vt:lpstr>
      <vt:lpstr>Geographic Scope &amp; Milestones</vt:lpstr>
      <vt:lpstr>Geographic Scope</vt:lpstr>
      <vt:lpstr>Project Timeline</vt:lpstr>
      <vt:lpstr>Public Value &amp; Engagement</vt:lpstr>
      <vt:lpstr>Public Interest Considerations</vt:lpstr>
      <vt:lpstr>Key stakeholders' considerations</vt:lpstr>
      <vt:lpstr>Stakeholder Consultation</vt:lpstr>
      <vt:lpstr>Community Engagement Plan</vt:lpstr>
      <vt:lpstr>Performance &amp; Resilience</vt:lpstr>
      <vt:lpstr>Performance Measures </vt:lpstr>
      <vt:lpstr>Operational Oversight &amp; Sustainability</vt:lpstr>
      <vt:lpstr>Appendix</vt:lpstr>
      <vt:lpstr>Appendix A: Structure </vt:lpstr>
      <vt:lpstr>Appendix A: Structure </vt:lpstr>
      <vt:lpstr>Appendix A: Structure </vt:lpstr>
      <vt:lpstr>Appendix B: Geographic Loc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planning - Servicing East Side Lands</dc:title>
  <dc:creator>Nick Siepmann;Annie.Chen@ca.gt.com</dc:creator>
  <cp:lastModifiedBy>Cummins, Peter</cp:lastModifiedBy>
  <cp:revision>1</cp:revision>
  <cp:lastPrinted>2017-03-31T13:01:56Z</cp:lastPrinted>
  <dcterms:created xsi:type="dcterms:W3CDTF">2022-11-08T16:32:36Z</dcterms:created>
  <dcterms:modified xsi:type="dcterms:W3CDTF">2025-10-27T21:0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B1ED583A15AB46883B7EB1922F495D</vt:lpwstr>
  </property>
  <property fmtid="{D5CDD505-2E9C-101B-9397-08002B2CF9AE}" pid="3" name="MediaServiceImageTags">
    <vt:lpwstr/>
  </property>
  <property fmtid="{D5CDD505-2E9C-101B-9397-08002B2CF9AE}" pid="4" name="_dlc_DocIdItemGuid">
    <vt:lpwstr>814f0b89-b505-461b-95fd-43218777974b</vt:lpwstr>
  </property>
  <property fmtid="{D5CDD505-2E9C-101B-9397-08002B2CF9AE}" pid="5" name="MMSID">
    <vt:lpwstr>wQDxbUoTpmK29s4I9AdILWOjxdykwhWXU0gM5ENd0vFT71e4UHGzuFzgQ6v8G1EHliuEIbzmwExLI24Uu681R9MXldZ+kwAMptrFQcKWXpr46+G4XUpZZ/VEDt6CU6gYHIP/Q4dZIfLJWWOair+l8S7GZIRi3THNfsQnmjKO6kRsnLnEGn8GRLrS2z4kPBkeen3Tev+/B4uvVEQYyQ6eKLKk82fAzEdhxE1X9n+o6/+8WaWoKCq0T1IvgsoJltuC2qXZoRbXHVHmLEKZpM+eR5+SJpkHKhJX2j6ieIzCh2+OPEauaePC+C2iSpbxax6uUuI2NBtqM62OQz4Z7JTBjE8VqndDPq1kD22CQsnukaxJyry0aJNpPE05boXgznKghoApkqnlBvCc9BI9haKGcr12DaQVjTGPvZchYqAxhmOaJoF9lf8BJajREkJw+q+0Yi4qoM66JZh/y/Bi4a4K5zzoRy8J7n09oviJa7r1gAyDOyvkVB6jt6IqoXxjHN6PvU3m7DYYdTHymo4RQYP+hVM8QBgxA8+HhQxbcRMYqO+N0sVPed1y4li2cuFQu8nJx6AjIvoW9RrEDvbSzWyUNSAZ3NDu/KBqDHUOKiOuh+g9Od6KLqs5Ar5MkEOY5opXNYjnlUneZFpK+Mtcqrg8pFKzB7tjuOQXn/5cBU4CJn8YHW5g2pHVqXE3VO1alkNabcZJZTIbIsMrRUaT0n8GZz6oTdYFHSshUfCHOWeOSQvazTGsGeMxuIUjEDLOYagn1sEq5XMCoZgDyd9+NIWLQQXMzeXpHw+dJh3tdV3t2XHtpaJxWde9QZhDPi1YlQBLamaaLK+7O7NFLrwVF6VGUMdrp5vXo8dagpY26EVQh3FOkGUvb4XP1x4F9c9RJoWDRPqIiEr/BljzNOM9+Rg87GD83f526ujwUtFNkHFLA4zI+pOEZWA6zjFXbaOJUaX0GPGpbJtUPb5XuSu2XakHGpYHjtbk6VlAfp2qC24sbTazypPSc1+JnuYaZjh3e21bpJTR/HUqb+RI+jaaFqjB26g4PCAUq1u7Yt4ZncaFPFockBbcrQwYKb38Tj70IuD1QnyBSA8GXFLlKnacidto4uYVk0CAY0NbddlvOSc4Egk=</vt:lpwstr>
  </property>
  <property fmtid="{D5CDD505-2E9C-101B-9397-08002B2CF9AE}" pid="6" name="MSIP_Label_827c0209-0049-4fa3-802d-b18399cd3e3b_Enabled">
    <vt:lpwstr>true</vt:lpwstr>
  </property>
  <property fmtid="{D5CDD505-2E9C-101B-9397-08002B2CF9AE}" pid="7" name="MSIP_Label_827c0209-0049-4fa3-802d-b18399cd3e3b_SetDate">
    <vt:lpwstr>2023-03-29T20:13:58Z</vt:lpwstr>
  </property>
  <property fmtid="{D5CDD505-2E9C-101B-9397-08002B2CF9AE}" pid="8" name="MSIP_Label_827c0209-0049-4fa3-802d-b18399cd3e3b_Method">
    <vt:lpwstr>Standard</vt:lpwstr>
  </property>
  <property fmtid="{D5CDD505-2E9C-101B-9397-08002B2CF9AE}" pid="9" name="MSIP_Label_827c0209-0049-4fa3-802d-b18399cd3e3b_Name">
    <vt:lpwstr>Public - test</vt:lpwstr>
  </property>
  <property fmtid="{D5CDD505-2E9C-101B-9397-08002B2CF9AE}" pid="10" name="MSIP_Label_827c0209-0049-4fa3-802d-b18399cd3e3b_SiteId">
    <vt:lpwstr>296ae229-6f10-4f4a-a0d6-f390ed73d8e3</vt:lpwstr>
  </property>
  <property fmtid="{D5CDD505-2E9C-101B-9397-08002B2CF9AE}" pid="11" name="MSIP_Label_827c0209-0049-4fa3-802d-b18399cd3e3b_ActionId">
    <vt:lpwstr>b12c1f41-4278-4a2a-bd60-7508361b82f0</vt:lpwstr>
  </property>
  <property fmtid="{D5CDD505-2E9C-101B-9397-08002B2CF9AE}" pid="12" name="MSIP_Label_827c0209-0049-4fa3-802d-b18399cd3e3b_ContentBits">
    <vt:lpwstr>0</vt:lpwstr>
  </property>
  <property fmtid="{D5CDD505-2E9C-101B-9397-08002B2CF9AE}" pid="13" name="TaxKeyword">
    <vt:lpwstr/>
  </property>
</Properties>
</file>